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  <p:sldMasterId id="2147483849" r:id="rId2"/>
    <p:sldMasterId id="2147483917" r:id="rId3"/>
  </p:sldMasterIdLst>
  <p:notesMasterIdLst>
    <p:notesMasterId r:id="rId5"/>
  </p:notesMasterIdLst>
  <p:sldIdLst>
    <p:sldId id="2147376711" r:id="rId4"/>
  </p:sldIdLst>
  <p:sldSz cx="12192000" cy="6858000"/>
  <p:notesSz cx="9363075" cy="7077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48235"/>
    <a:srgbClr val="FFFFFF"/>
    <a:srgbClr val="000000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032" autoAdjust="0"/>
    <p:restoredTop sz="94061" autoAdjust="0"/>
  </p:normalViewPr>
  <p:slideViewPr>
    <p:cSldViewPr snapToGrid="0">
      <p:cViewPr varScale="1">
        <p:scale>
          <a:sx n="158" d="100"/>
          <a:sy n="158" d="100"/>
        </p:scale>
        <p:origin x="316" y="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57333" cy="355083"/>
          </a:xfrm>
          <a:prstGeom prst="rect">
            <a:avLst/>
          </a:prstGeom>
        </p:spPr>
        <p:txBody>
          <a:bodyPr vert="horz" lIns="93936" tIns="46968" rIns="93936" bIns="4696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303576" y="0"/>
            <a:ext cx="4057333" cy="355083"/>
          </a:xfrm>
          <a:prstGeom prst="rect">
            <a:avLst/>
          </a:prstGeom>
        </p:spPr>
        <p:txBody>
          <a:bodyPr vert="horz" lIns="93936" tIns="46968" rIns="93936" bIns="46968" rtlCol="0"/>
          <a:lstStyle>
            <a:lvl1pPr algn="r">
              <a:defRPr sz="1200"/>
            </a:lvl1pPr>
          </a:lstStyle>
          <a:p>
            <a:fld id="{93D252A0-6B9A-4ED9-AB99-E04E3E6B7B52}" type="datetimeFigureOut">
              <a:rPr lang="en-US" smtClean="0"/>
              <a:t>2/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59050" y="884238"/>
            <a:ext cx="4244975" cy="23891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936" tIns="46968" rIns="93936" bIns="4696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36308" y="3405842"/>
            <a:ext cx="7490460" cy="2786599"/>
          </a:xfrm>
          <a:prstGeom prst="rect">
            <a:avLst/>
          </a:prstGeom>
        </p:spPr>
        <p:txBody>
          <a:bodyPr vert="horz" lIns="93936" tIns="46968" rIns="93936" bIns="4696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721993"/>
            <a:ext cx="4057333" cy="355082"/>
          </a:xfrm>
          <a:prstGeom prst="rect">
            <a:avLst/>
          </a:prstGeom>
        </p:spPr>
        <p:txBody>
          <a:bodyPr vert="horz" lIns="93936" tIns="46968" rIns="93936" bIns="4696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303576" y="6721993"/>
            <a:ext cx="4057333" cy="355082"/>
          </a:xfrm>
          <a:prstGeom prst="rect">
            <a:avLst/>
          </a:prstGeom>
        </p:spPr>
        <p:txBody>
          <a:bodyPr vert="horz" lIns="93936" tIns="46968" rIns="93936" bIns="46968" rtlCol="0" anchor="b"/>
          <a:lstStyle>
            <a:lvl1pPr algn="r">
              <a:defRPr sz="1200"/>
            </a:lvl1pPr>
          </a:lstStyle>
          <a:p>
            <a:fld id="{916C8AEC-86A1-4B96-8F1B-DC52E43C82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67365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3" name="Google Shape;673;g1229633985e_0_445:notes"/>
          <p:cNvSpPr txBox="1">
            <a:spLocks noGrp="1"/>
          </p:cNvSpPr>
          <p:nvPr>
            <p:ph type="body" idx="1"/>
          </p:nvPr>
        </p:nvSpPr>
        <p:spPr>
          <a:xfrm>
            <a:off x="732936" y="4626452"/>
            <a:ext cx="5863426" cy="3785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759" tIns="47867" rIns="95759" bIns="47867" anchor="t" anchorCtr="0">
            <a:noAutofit/>
          </a:bodyPr>
          <a:lstStyle/>
          <a:p>
            <a:pPr marL="0" indent="0"/>
            <a:endParaRPr/>
          </a:p>
        </p:txBody>
      </p:sp>
      <p:sp>
        <p:nvSpPr>
          <p:cNvPr id="674" name="Google Shape;674;g1229633985e_0_4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781050" y="1201738"/>
            <a:ext cx="5765800" cy="32432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8544234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7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5699B2-0760-4BE8-AA2C-E9D2D4C1B2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67EA213-B75D-4FEA-A902-07D3C055812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2583AB-481B-4FCD-B71D-0381C5C87F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AC083D-F5AF-42DD-9415-443547F10D74}" type="datetimeFigureOut">
              <a:rPr lang="en-US" smtClean="0"/>
              <a:t>2/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F43A46-0EC4-4856-8B05-ACC6BB0EFB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A1584C-BC75-49FF-BAA0-AEA8CA421D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A7142F-4899-484A-BFB9-94EBEDABD3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54015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B3F102-471D-41FE-B398-A48CF6F64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1F28176-1DE8-421D-9BBD-F0BA44AE057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A026ED-A3A4-4FCD-8CFD-CE0BB734FE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AC083D-F5AF-42DD-9415-443547F10D74}" type="datetimeFigureOut">
              <a:rPr lang="en-US" smtClean="0"/>
              <a:t>2/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BD73C1-88D2-40AC-9C2F-185FBD6533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DA8A7F-85E3-4126-AE58-89E270443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A7142F-4899-484A-BFB9-94EBEDABD3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17886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D7C1B1F-33C4-4295-872F-C71339A7CA5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DB27E3F-1D49-4388-8185-0EE4D384C39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42344F-90EF-4A86-A00B-EAEBF204D3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AC083D-F5AF-42DD-9415-443547F10D74}" type="datetimeFigureOut">
              <a:rPr lang="en-US" smtClean="0"/>
              <a:t>2/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54D1AA-FDE1-4781-AB0A-369F5533B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307136-70A2-443C-BE74-9AEF27EC99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A7142F-4899-484A-BFB9-94EBEDABD3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79443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E5A7936-22CC-CB45-A3D4-C0734EAB570E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0">
                <a:schemeClr val="bg1"/>
              </a:gs>
              <a:gs pos="99000">
                <a:schemeClr val="bg2"/>
              </a:gs>
            </a:gsLst>
            <a:lin ang="5400000" scaled="1"/>
          </a:gra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pic>
        <p:nvPicPr>
          <p:cNvPr id="6" name="Picture 5" descr="Logo, icon&#10;&#10;Description automatically generated">
            <a:extLst>
              <a:ext uri="{FF2B5EF4-FFF2-40B4-BE49-F238E27FC236}">
                <a16:creationId xmlns:a16="http://schemas.microsoft.com/office/drawing/2014/main" id="{E99D4A03-F70D-614F-8444-27ECE45E85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11624" y="842226"/>
            <a:ext cx="6332394" cy="6015774"/>
          </a:xfrm>
          <a:prstGeom prst="rect">
            <a:avLst/>
          </a:prstGeom>
        </p:spPr>
      </p:pic>
      <p:sp>
        <p:nvSpPr>
          <p:cNvPr id="5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16226" y="2605294"/>
            <a:ext cx="10555357" cy="1647411"/>
          </a:xfrm>
          <a:effectLst>
            <a:outerShdw blurRad="762000" dist="381000" dir="5400000" algn="t" rotWithShape="0">
              <a:prstClr val="black">
                <a:alpha val="30000"/>
              </a:prstClr>
            </a:outerShdw>
          </a:effectLst>
        </p:spPr>
        <p:txBody>
          <a:bodyPr/>
          <a:lstStyle>
            <a:lvl1pPr algn="l">
              <a:lnSpc>
                <a:spcPct val="80000"/>
              </a:lnSpc>
              <a:spcBef>
                <a:spcPts val="1000"/>
              </a:spcBef>
              <a:defRPr sz="6600" b="0" i="0">
                <a:latin typeface="Helvetica" pitchFamily="2" charset="0"/>
                <a:ea typeface="Montserrat Black" charset="0"/>
                <a:cs typeface="Montserrat Black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8BABB9B-B8EE-C94D-94F0-32671B6137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6227" y="5189538"/>
            <a:ext cx="5017812" cy="914400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2400" b="0"/>
            </a:lvl1pPr>
            <a:lvl2pPr>
              <a:defRPr sz="2400" b="0"/>
            </a:lvl2pPr>
            <a:lvl3pPr>
              <a:defRPr sz="2400" b="0"/>
            </a:lvl3pPr>
            <a:lvl4pPr>
              <a:defRPr sz="2400" b="0"/>
            </a:lvl4pPr>
            <a:lvl5pPr>
              <a:defRPr sz="2400"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886435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repeatCount="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6" presetClass="emph" presetSubtype="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5000" fill="hold"/>
                                        <p:tgtEl>
                                          <p:spTgt spid="5"/>
                                        </p:tgtEl>
                                      </p:cBhvr>
                                      <p:by x="120000" y="12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4" grpId="0"/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024971" y="2605294"/>
            <a:ext cx="10146612" cy="1647411"/>
          </a:xfrm>
          <a:effectLst>
            <a:outerShdw blurRad="762000" dist="381000" dir="5400000" algn="t" rotWithShape="0">
              <a:prstClr val="black">
                <a:alpha val="30000"/>
              </a:prstClr>
            </a:outerShdw>
          </a:effectLst>
        </p:spPr>
        <p:txBody>
          <a:bodyPr/>
          <a:lstStyle>
            <a:lvl1pPr algn="ctr">
              <a:defRPr sz="8800" b="0" i="0">
                <a:latin typeface="Helvetica" pitchFamily="2" charset="0"/>
                <a:ea typeface="Montserrat Black" charset="0"/>
                <a:cs typeface="Montserrat Black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83081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repeatCount="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6" presetClass="emph" presetSubtype="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5000" fill="hold"/>
                                        <p:tgtEl>
                                          <p:spTgt spid="5"/>
                                        </p:tgtEl>
                                      </p:cBhvr>
                                      <p:by x="120000" y="12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4" grpId="0"/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part 1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B18367AE-1F1A-5343-989E-C9F1C5957AF7}"/>
              </a:ext>
            </a:extLst>
          </p:cNvPr>
          <p:cNvSpPr/>
          <p:nvPr userDrawn="1"/>
        </p:nvSpPr>
        <p:spPr>
          <a:xfrm>
            <a:off x="5084541" y="4006600"/>
            <a:ext cx="7103165" cy="564045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30"/>
            <a:endParaRPr lang="en-US" dirty="0">
              <a:solidFill>
                <a:srgbClr val="FFFFFF"/>
              </a:solidFill>
              <a:latin typeface="Helvetica" pitchFamily="2" charset="0"/>
            </a:endParaRPr>
          </a:p>
        </p:txBody>
      </p:sp>
      <p:sp>
        <p:nvSpPr>
          <p:cNvPr id="5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2033229" y="2294585"/>
            <a:ext cx="3051313" cy="2276061"/>
          </a:xfrm>
          <a:prstGeom prst="rect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4971" y="1175302"/>
            <a:ext cx="10146612" cy="1647411"/>
          </a:xfrm>
          <a:effectLst>
            <a:outerShdw blurRad="762000" dist="381000" dir="5400000" algn="t" rotWithShape="0">
              <a:prstClr val="black">
                <a:alpha val="30000"/>
              </a:prstClr>
            </a:outerShdw>
          </a:effectLst>
        </p:spPr>
        <p:txBody>
          <a:bodyPr/>
          <a:lstStyle>
            <a:lvl1pPr>
              <a:defRPr sz="12000" b="1" i="0">
                <a:latin typeface="Helvetica" pitchFamily="2" charset="0"/>
                <a:ea typeface="Helvetica" pitchFamily="2" charset="0"/>
                <a:cs typeface="Helvetica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A00B0D70-592B-A842-BECD-ABA8924C69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166938" y="4752975"/>
            <a:ext cx="2724150" cy="1209675"/>
          </a:xfrm>
        </p:spPr>
        <p:txBody>
          <a:bodyPr>
            <a:normAutofit/>
          </a:bodyPr>
          <a:lstStyle>
            <a:lvl1pPr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548D9C3D-4987-B349-AA91-CD0ABEAEBE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85559" y="4752975"/>
            <a:ext cx="2724150" cy="1209675"/>
          </a:xfrm>
        </p:spPr>
        <p:txBody>
          <a:bodyPr>
            <a:normAutofit/>
          </a:bodyPr>
          <a:lstStyle>
            <a:lvl1pPr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B4937356-4B77-3D4E-87A1-670C788A14A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237231" y="4752975"/>
            <a:ext cx="2724150" cy="1209675"/>
          </a:xfrm>
        </p:spPr>
        <p:txBody>
          <a:bodyPr>
            <a:normAutofit/>
          </a:bodyPr>
          <a:lstStyle>
            <a:lvl1pPr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1E893A13-22E7-9A49-959A-121F963A6D0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122870" y="4312301"/>
            <a:ext cx="307449" cy="258346"/>
          </a:xfrm>
        </p:spPr>
        <p:txBody>
          <a:bodyPr>
            <a:normAutofit/>
          </a:bodyPr>
          <a:lstStyle>
            <a:lvl1pPr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2B74FAF1-485F-964A-94F6-F1783DC249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2509" y="4312301"/>
            <a:ext cx="307449" cy="258346"/>
          </a:xfrm>
        </p:spPr>
        <p:txBody>
          <a:bodyPr>
            <a:normAutofit/>
          </a:bodyPr>
          <a:lstStyle>
            <a:lvl1pPr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1D2F27F0-26CB-CC46-BFB1-86C0EB80F98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93165" y="4312301"/>
            <a:ext cx="307449" cy="258346"/>
          </a:xfrm>
        </p:spPr>
        <p:txBody>
          <a:bodyPr>
            <a:normAutofit/>
          </a:bodyPr>
          <a:lstStyle>
            <a:lvl1pPr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36450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repeatCount="0" decel="5000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6" presetClass="emph" presetSubtype="0" accel="50000" decel="50000" autoRev="1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5" grpId="0" animBg="1"/>
      <p:bldP spid="5" grpId="1" animBg="1"/>
      <p:bldP spid="2" grpId="0"/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p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9CF9381-DCA1-4742-B88E-9B876742919F}"/>
              </a:ext>
            </a:extLst>
          </p:cNvPr>
          <p:cNvSpPr/>
          <p:nvPr userDrawn="1"/>
        </p:nvSpPr>
        <p:spPr>
          <a:xfrm>
            <a:off x="0" y="4006600"/>
            <a:ext cx="7103165" cy="564045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30"/>
            <a:endParaRPr lang="en-US" dirty="0">
              <a:solidFill>
                <a:srgbClr val="FFFFFF"/>
              </a:solidFill>
              <a:latin typeface="Helvetica" pitchFamily="2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E7465A5-B03D-694C-AA4D-FCF89CEAF8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70928" y="4721994"/>
            <a:ext cx="2724150" cy="1209675"/>
          </a:xfrm>
        </p:spPr>
        <p:txBody>
          <a:bodyPr>
            <a:normAutofit/>
          </a:bodyPr>
          <a:lstStyle>
            <a:lvl1pPr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3CFCF78A-75C0-CC48-B119-77609AE1B0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22600" y="4721994"/>
            <a:ext cx="2724150" cy="1209675"/>
          </a:xfrm>
        </p:spPr>
        <p:txBody>
          <a:bodyPr>
            <a:normAutofit/>
          </a:bodyPr>
          <a:lstStyle>
            <a:lvl1pPr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528AC514-28A8-B147-AA12-ABE98C77B14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137878" y="4281320"/>
            <a:ext cx="307449" cy="258346"/>
          </a:xfrm>
        </p:spPr>
        <p:txBody>
          <a:bodyPr>
            <a:normAutofit/>
          </a:bodyPr>
          <a:lstStyle>
            <a:lvl1pPr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9F71B414-5A16-4F41-9E54-1CF16786D74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22601" y="4281320"/>
            <a:ext cx="307449" cy="258346"/>
          </a:xfrm>
        </p:spPr>
        <p:txBody>
          <a:bodyPr>
            <a:normAutofit/>
          </a:bodyPr>
          <a:lstStyle>
            <a:lvl1pPr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49898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graph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8825" y="946702"/>
            <a:ext cx="4057016" cy="124984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9133840" y="0"/>
            <a:ext cx="3058160" cy="4572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0" dist="254000" dir="5400000" algn="t" rotWithShape="0">
              <a:prstClr val="black">
                <a:alpha val="30000"/>
              </a:prstClr>
            </a:outerShdw>
          </a:effectLst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085840" y="2854960"/>
            <a:ext cx="3048000" cy="4003040"/>
          </a:xfrm>
          <a:prstGeom prst="rect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DABA2B09-8B93-BA4E-86AB-7B64CFB5BF7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028825" y="2854960"/>
            <a:ext cx="2724150" cy="1209675"/>
          </a:xfrm>
        </p:spPr>
        <p:txBody>
          <a:bodyPr>
            <a:normAutofit/>
          </a:bodyPr>
          <a:lstStyle>
            <a:lvl1pPr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FE1071D9-B079-DC4F-882F-D3B2F2000D2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300845" y="5056712"/>
            <a:ext cx="2724150" cy="1209675"/>
          </a:xfrm>
        </p:spPr>
        <p:txBody>
          <a:bodyPr>
            <a:normAutofit/>
          </a:bodyPr>
          <a:lstStyle>
            <a:lvl1pPr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52093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ccel="50000" decel="5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mph" presetSubtype="0" accel="50000" decel="50000" autoRev="1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  <p:bldP spid="5" grpId="0" animBg="1"/>
      <p:bldP spid="5" grpId="1" animBg="1"/>
    </p:bld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7334E1-6FD0-DF4F-AB6A-E39C530DD4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C22FB38-B109-F441-85F2-682F532C1AD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11994218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graphy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1E55A12D-11E0-437B-89DE-E19CBD799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4971" y="1175302"/>
            <a:ext cx="10146612" cy="1647411"/>
          </a:xfrm>
          <a:effectLst>
            <a:outerShdw blurRad="762000" dist="381000" dir="5400000" algn="t" rotWithShape="0">
              <a:prstClr val="black">
                <a:alpha val="30000"/>
              </a:prstClr>
            </a:outerShdw>
          </a:effectLst>
        </p:spPr>
        <p:txBody>
          <a:bodyPr/>
          <a:lstStyle>
            <a:lvl1pPr>
              <a:defRPr sz="12000" b="1" i="0">
                <a:solidFill>
                  <a:schemeClr val="accent1"/>
                </a:solidFill>
                <a:latin typeface="Helvetica" pitchFamily="2" charset="0"/>
                <a:ea typeface="Helvetica" pitchFamily="2" charset="0"/>
                <a:cs typeface="Helvetica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7A624F98-6334-4710-B5FE-8EC9CCAE031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1" y="-30480"/>
            <a:ext cx="6085840" cy="6888480"/>
          </a:xfrm>
          <a:prstGeom prst="rect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464264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repeatCount="0" decel="5000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6" presetClass="emph" presetSubtype="0" accel="50000" decel="50000" autoRev="1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7" grpId="0" animBg="1"/>
      <p:bldP spid="7" grpId="1" animBg="1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graphy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1016000" y="0"/>
            <a:ext cx="11176000" cy="3429000"/>
          </a:xfrm>
          <a:prstGeom prst="rect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547522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ccel="50000" decel="50000" autoRev="1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" grpId="1" animBg="1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64132D-A2DE-4CEF-BBF4-1B333D0B90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7966166" cy="1325563"/>
          </a:xfrm>
        </p:spPr>
        <p:txBody>
          <a:bodyPr/>
          <a:lstStyle>
            <a:lvl1pPr>
              <a:defRPr sz="4000">
                <a:latin typeface="Montserrat" panose="02000505000000020004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7C6016-2A0B-47B6-A4BE-2884DC646F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7966166" cy="4351338"/>
          </a:xfrm>
        </p:spPr>
        <p:txBody>
          <a:bodyPr>
            <a:normAutofit/>
          </a:bodyPr>
          <a:lstStyle>
            <a:lvl1pPr>
              <a:defRPr sz="2400">
                <a:latin typeface="Montserrat" panose="02000505000000020004" pitchFamily="2" charset="0"/>
              </a:defRPr>
            </a:lvl1pPr>
            <a:lvl2pPr>
              <a:defRPr sz="2000">
                <a:latin typeface="Montserrat" panose="02000505000000020004" pitchFamily="2" charset="0"/>
              </a:defRPr>
            </a:lvl2pPr>
            <a:lvl3pPr>
              <a:defRPr sz="1800">
                <a:latin typeface="Montserrat" panose="02000505000000020004" pitchFamily="2" charset="0"/>
              </a:defRPr>
            </a:lvl3pPr>
            <a:lvl4pPr>
              <a:defRPr sz="1600">
                <a:latin typeface="Montserrat" panose="02000505000000020004" pitchFamily="2" charset="0"/>
              </a:defRPr>
            </a:lvl4pPr>
            <a:lvl5pPr>
              <a:defRPr sz="1600">
                <a:latin typeface="Montserrat" panose="02000505000000020004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CF6CCF-3959-4059-BD46-5CEEF85A40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AC083D-F5AF-42DD-9415-443547F10D74}" type="datetimeFigureOut">
              <a:rPr lang="en-US" smtClean="0"/>
              <a:t>2/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359B90-C5E5-46B9-9868-7901DC762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8308ED-CEB2-4868-86D8-2C8FCD2DC0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A7142F-4899-484A-BFB9-94EBEDABD3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4747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graphy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09420" y="946702"/>
            <a:ext cx="4066580" cy="124984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1016000" y="0"/>
            <a:ext cx="5080000" cy="6858000"/>
          </a:xfrm>
          <a:prstGeom prst="rect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446210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ccel="50000" decel="50000" autoRev="1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</p:bld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graphy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67300" y="946702"/>
            <a:ext cx="6114221" cy="124984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1019175" y="0"/>
            <a:ext cx="3048001" cy="6858000"/>
          </a:xfrm>
          <a:prstGeom prst="rect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102630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ccel="50000" decel="50000" autoRev="1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</p:bld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graphy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045260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ccel="50000" decel="50000" autoRev="1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" grpId="1" animBg="1"/>
    </p:bld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96750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/Photograph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1016000" y="0"/>
            <a:ext cx="5080000" cy="6858000"/>
          </a:xfrm>
          <a:prstGeom prst="rect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2DBBD0E-6DEF-9940-8510-657C418BB1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89825" y="1463040"/>
            <a:ext cx="3232150" cy="4091623"/>
          </a:xfrm>
        </p:spPr>
        <p:txBody>
          <a:bodyPr>
            <a:normAutofit/>
          </a:bodyPr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58617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ccel="50000" decel="50000" autoRev="1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</p:bld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269A8BAD-1D32-FE40-A7ED-CC16A1B862A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30999" y="2834101"/>
            <a:ext cx="8130001" cy="2513151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13121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6096000" y="0"/>
            <a:ext cx="6096000" cy="34417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0" dist="254000" dir="5400000" algn="t" rotWithShape="0">
              <a:prstClr val="black">
                <a:alpha val="30000"/>
              </a:prstClr>
            </a:outerShdw>
          </a:effectLst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Picture Placeholder 8"/>
          <p:cNvSpPr>
            <a:spLocks noGrp="1"/>
          </p:cNvSpPr>
          <p:nvPr>
            <p:ph type="pic" sz="quarter" idx="27"/>
          </p:nvPr>
        </p:nvSpPr>
        <p:spPr>
          <a:xfrm>
            <a:off x="0" y="0"/>
            <a:ext cx="6096000" cy="3441700"/>
          </a:xfrm>
          <a:prstGeom prst="rect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D3E96EBB-293C-984B-8007-0FDBF50A62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57004" y="4721994"/>
            <a:ext cx="3795916" cy="1209675"/>
          </a:xfrm>
        </p:spPr>
        <p:txBody>
          <a:bodyPr>
            <a:normAutofit/>
          </a:bodyPr>
          <a:lstStyle>
            <a:lvl1pPr algn="ctr"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04969F9B-B0A3-9A4E-B7B7-AD7ADF3188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157004" y="4062659"/>
            <a:ext cx="3781992" cy="258346"/>
          </a:xfrm>
        </p:spPr>
        <p:txBody>
          <a:bodyPr>
            <a:noAutofit/>
          </a:bodyPr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DA9F26C5-D542-6843-BDE8-B8A91645A0B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253006" y="4721994"/>
            <a:ext cx="3795916" cy="1209675"/>
          </a:xfrm>
        </p:spPr>
        <p:txBody>
          <a:bodyPr>
            <a:normAutofit/>
          </a:bodyPr>
          <a:lstStyle>
            <a:lvl1pPr algn="ctr"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47ED09F6-EBF1-1240-A21A-167F45E1E36A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253006" y="4062659"/>
            <a:ext cx="3781992" cy="258346"/>
          </a:xfrm>
        </p:spPr>
        <p:txBody>
          <a:bodyPr>
            <a:noAutofit/>
          </a:bodyPr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61219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ccel="50000" decel="5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mph" presetSubtype="0" accel="50000" decel="50000" autoRev="1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  <p:bldP spid="5" grpId="0" animBg="1"/>
      <p:bldP spid="5" grpId="1" animBg="1"/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8"/>
          <p:cNvSpPr>
            <a:spLocks noGrp="1"/>
          </p:cNvSpPr>
          <p:nvPr>
            <p:ph type="pic" sz="quarter" idx="27"/>
          </p:nvPr>
        </p:nvSpPr>
        <p:spPr>
          <a:xfrm>
            <a:off x="0" y="3416300"/>
            <a:ext cx="6096000" cy="3441700"/>
          </a:xfrm>
          <a:prstGeom prst="rect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6096000" y="3416300"/>
            <a:ext cx="6096000" cy="34417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0" dist="254000" dir="5400000" algn="t" rotWithShape="0">
              <a:prstClr val="black">
                <a:alpha val="30000"/>
              </a:prstClr>
            </a:outerShdw>
          </a:effectLst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A1013633-505C-0C48-A34F-CEEB4AF350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57004" y="1516086"/>
            <a:ext cx="3795916" cy="1209675"/>
          </a:xfrm>
        </p:spPr>
        <p:txBody>
          <a:bodyPr>
            <a:normAutofit/>
          </a:bodyPr>
          <a:lstStyle>
            <a:lvl1pPr algn="ctr"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CD564064-13C8-E94C-86FB-E31EAC2D7DB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157004" y="856751"/>
            <a:ext cx="3781992" cy="258346"/>
          </a:xfrm>
        </p:spPr>
        <p:txBody>
          <a:bodyPr>
            <a:noAutofit/>
          </a:bodyPr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4C32952A-B246-F14D-8FE8-41E4840AC38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253006" y="1516086"/>
            <a:ext cx="3795916" cy="1209675"/>
          </a:xfrm>
        </p:spPr>
        <p:txBody>
          <a:bodyPr>
            <a:normAutofit/>
          </a:bodyPr>
          <a:lstStyle>
            <a:lvl1pPr algn="ctr"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9CDCF1B-E25C-A046-AFC8-1AF1BF21B01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253006" y="856751"/>
            <a:ext cx="3781992" cy="258346"/>
          </a:xfrm>
        </p:spPr>
        <p:txBody>
          <a:bodyPr>
            <a:noAutofit/>
          </a:bodyPr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454794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ccel="50000" decel="5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mph" presetSubtype="0" accel="50000" decel="50000" autoRev="1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6" grpId="0" animBg="1"/>
      <p:bldP spid="6" grpId="1" animBg="1"/>
    </p:bld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8"/>
          <p:cNvSpPr>
            <a:spLocks noGrp="1"/>
          </p:cNvSpPr>
          <p:nvPr>
            <p:ph type="pic" sz="quarter" idx="27"/>
          </p:nvPr>
        </p:nvSpPr>
        <p:spPr>
          <a:xfrm>
            <a:off x="0" y="0"/>
            <a:ext cx="6096000" cy="3416300"/>
          </a:xfrm>
          <a:prstGeom prst="rect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0" y="3416300"/>
            <a:ext cx="6096000" cy="34417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0" dist="254000" dir="5400000" algn="t" rotWithShape="0">
              <a:prstClr val="black">
                <a:alpha val="30000"/>
              </a:prstClr>
            </a:outerShdw>
          </a:effectLst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BAAA20D7-55DE-8946-8ABE-B15665BAE7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239082" y="1449221"/>
            <a:ext cx="3795916" cy="1209675"/>
          </a:xfrm>
        </p:spPr>
        <p:txBody>
          <a:bodyPr>
            <a:normAutofit/>
          </a:bodyPr>
          <a:lstStyle>
            <a:lvl1pPr algn="ctr"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6DD2BE57-7D22-0F43-B6F3-8F6CDDEFD94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239082" y="789886"/>
            <a:ext cx="3781992" cy="258346"/>
          </a:xfrm>
        </p:spPr>
        <p:txBody>
          <a:bodyPr>
            <a:noAutofit/>
          </a:bodyPr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9FAE29EC-6C56-4842-9D1A-9C8E830FE84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253006" y="4861980"/>
            <a:ext cx="3795916" cy="1209675"/>
          </a:xfrm>
        </p:spPr>
        <p:txBody>
          <a:bodyPr>
            <a:normAutofit/>
          </a:bodyPr>
          <a:lstStyle>
            <a:lvl1pPr algn="ctr"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6F9BF03D-0C69-804D-A7B9-4A7B848E9F5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253006" y="4202645"/>
            <a:ext cx="3781992" cy="258346"/>
          </a:xfrm>
        </p:spPr>
        <p:txBody>
          <a:bodyPr>
            <a:noAutofit/>
          </a:bodyPr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421979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ccel="50000" decel="5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mph" presetSubtype="0" accel="50000" decel="50000" autoRev="1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6" grpId="0" animBg="1"/>
      <p:bldP spid="6" grpId="1" animBg="1"/>
    </p:bld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8"/>
          <p:cNvSpPr>
            <a:spLocks noGrp="1"/>
          </p:cNvSpPr>
          <p:nvPr>
            <p:ph type="pic" sz="quarter" idx="27"/>
          </p:nvPr>
        </p:nvSpPr>
        <p:spPr>
          <a:xfrm>
            <a:off x="6096000" y="0"/>
            <a:ext cx="6096000" cy="3416300"/>
          </a:xfrm>
          <a:prstGeom prst="rect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6096000" y="3416300"/>
            <a:ext cx="6096000" cy="34417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0" dist="254000" dir="5400000" algn="t" rotWithShape="0">
              <a:prstClr val="black">
                <a:alpha val="30000"/>
              </a:prstClr>
            </a:outerShdw>
          </a:effectLst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DF0C2D46-C03B-0543-8793-C6672FC1F3D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00990" y="1449221"/>
            <a:ext cx="3795916" cy="1209675"/>
          </a:xfrm>
        </p:spPr>
        <p:txBody>
          <a:bodyPr>
            <a:normAutofit/>
          </a:bodyPr>
          <a:lstStyle>
            <a:lvl1pPr algn="ctr"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A859F5ED-E635-4843-AB84-A65D21B8DFE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00990" y="789886"/>
            <a:ext cx="3781992" cy="258346"/>
          </a:xfrm>
        </p:spPr>
        <p:txBody>
          <a:bodyPr>
            <a:noAutofit/>
          </a:bodyPr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659E6EF2-C00C-C94E-A516-920802FF2EB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314914" y="4861980"/>
            <a:ext cx="3795916" cy="1209675"/>
          </a:xfrm>
        </p:spPr>
        <p:txBody>
          <a:bodyPr>
            <a:normAutofit/>
          </a:bodyPr>
          <a:lstStyle>
            <a:lvl1pPr algn="ctr"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94074D78-A329-344B-8F7A-73645F6F260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314914" y="4202645"/>
            <a:ext cx="3781992" cy="258346"/>
          </a:xfrm>
        </p:spPr>
        <p:txBody>
          <a:bodyPr>
            <a:noAutofit/>
          </a:bodyPr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073401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ccel="50000" decel="5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mph" presetSubtype="0" accel="50000" decel="50000" autoRev="1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6" grpId="0" animBg="1"/>
      <p:bldP spid="6" grpId="1" animBg="1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4FDE3C-6686-4C3E-B772-EB6D498B4A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7B67B4-52C6-420D-98D7-8648C51AF9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EEBF83-D0FB-4613-A14A-45A477713F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AC083D-F5AF-42DD-9415-443547F10D74}" type="datetimeFigureOut">
              <a:rPr lang="en-US" smtClean="0"/>
              <a:t>2/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785210-A803-4F4B-A44F-C33EF8250E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E73410-65DF-4268-8589-0B782BBF9C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A7142F-4899-484A-BFB9-94EBEDABD3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297626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 Ab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5C20C475-CFD8-44C2-886A-7185769DC73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9962" y="1125538"/>
            <a:ext cx="5072863" cy="5732462"/>
          </a:xfrm>
          <a:prstGeom prst="rect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49CA5C5-1CA9-514A-9711-EAAAB6C4C0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A7E2249-9172-F14B-B971-C8E0DDF777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28825" y="2971800"/>
            <a:ext cx="3317875" cy="2454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5295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ccel="50000" decel="50000" autoRev="1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" grpId="1" animBg="1"/>
    </p:bld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rious photograph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8825" y="946702"/>
            <a:ext cx="4067176" cy="12498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375A5718-5D74-4E87-80EC-F2110E5ADA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316654" y="1125538"/>
            <a:ext cx="1811382" cy="1689294"/>
          </a:xfrm>
          <a:prstGeom prst="rect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06C01F3E-9E36-4C94-9547-62C82056E6A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621215" y="4478369"/>
            <a:ext cx="2551610" cy="2379631"/>
          </a:xfrm>
          <a:prstGeom prst="rect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28362C07-870E-4BE5-8813-72DDF19A066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2179130"/>
            <a:ext cx="1811382" cy="168929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0" dist="254000" dir="5400000" algn="t" rotWithShape="0">
              <a:prstClr val="black">
                <a:alpha val="30000"/>
              </a:prstClr>
            </a:outerShdw>
          </a:effectLst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834829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ccel="50000" decel="50000" autoRev="1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mph" presetSubtype="0" accel="50000" decel="50000" autoRev="1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Scale>
                                      <p:cBhvr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" presetClass="emph" presetSubtype="0" accel="50000" decel="5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  <p:bldP spid="5" grpId="0" animBg="1"/>
      <p:bldP spid="5" grpId="1" animBg="1"/>
      <p:bldP spid="6" grpId="0" animBg="1"/>
      <p:bldP spid="6" grpId="1" animBg="1"/>
    </p:bld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rius Photograph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06C01F3E-9E36-4C94-9547-62C82056E6A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621215" y="4478369"/>
            <a:ext cx="2551610" cy="2379631"/>
          </a:xfrm>
          <a:prstGeom prst="rect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375A5718-5D74-4E87-80EC-F2110E5ADA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1" y="1125539"/>
            <a:ext cx="2525214" cy="2303462"/>
          </a:xfrm>
          <a:prstGeom prst="rect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28362C07-870E-4BE5-8813-72DDF19A066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316654" y="3077385"/>
            <a:ext cx="1811382" cy="175260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0" dist="254000" dir="5400000" algn="t" rotWithShape="0">
              <a:prstClr val="black">
                <a:alpha val="30000"/>
              </a:prstClr>
            </a:outerShdw>
          </a:effectLst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8825" y="946702"/>
            <a:ext cx="4067176" cy="12498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98030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ccel="50000" decel="50000" autoRev="1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mph" presetSubtype="0" accel="50000" decel="50000" autoRev="1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Scale>
                                      <p:cBhvr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" presetClass="emph" presetSubtype="0" accel="50000" decel="5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4" grpId="0" animBg="1"/>
      <p:bldP spid="4" grpId="1" animBg="1"/>
      <p:bldP spid="6" grpId="0" animBg="1"/>
      <p:bldP spid="6" grpId="1" animBg="1"/>
    </p:bld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rious Photography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06C01F3E-9E36-4C94-9547-62C82056E6A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590971" y="3530191"/>
            <a:ext cx="3581854" cy="3327810"/>
          </a:xfrm>
          <a:prstGeom prst="rect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375A5718-5D74-4E87-80EC-F2110E5ADA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665651" y="3530190"/>
            <a:ext cx="1811382" cy="1689294"/>
          </a:xfrm>
          <a:prstGeom prst="rect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06C01F3E-9E36-4C94-9547-62C82056E6A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5998" y="1125539"/>
            <a:ext cx="2425157" cy="2310890"/>
          </a:xfrm>
          <a:prstGeom prst="rect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8825" y="946702"/>
            <a:ext cx="4067176" cy="12498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28362C07-870E-4BE5-8813-72DDF19A066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621215" y="1747135"/>
            <a:ext cx="1811382" cy="168929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0" dist="254000" dir="5400000" algn="t" rotWithShape="0">
              <a:prstClr val="black">
                <a:alpha val="30000"/>
              </a:prstClr>
            </a:outerShdw>
          </a:effectLst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393597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ccel="50000" decel="50000" autoRev="1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mph" presetSubtype="0" accel="50000" decel="50000" autoRev="1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Scale>
                                      <p:cBhvr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" presetClass="emph" presetSubtype="0" accel="50000" decel="5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" presetClass="emph" presetSubtype="0" accel="50000" decel="50000" autoRev="1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Scale>
                                      <p:cBhvr>
                                        <p:cTn id="24" dur="500" fill="hold"/>
                                        <p:tgtEl>
                                          <p:spTgt spid="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4" grpId="0" animBg="1"/>
      <p:bldP spid="4" grpId="1" animBg="1"/>
      <p:bldP spid="7" grpId="0" animBg="1"/>
      <p:bldP spid="7" grpId="1" animBg="1"/>
      <p:bldP spid="6" grpId="0" animBg="1"/>
      <p:bldP spid="6" grpId="1" animBg="1"/>
    </p:bld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rious Photography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06C01F3E-9E36-4C94-9547-62C82056E6A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753475" y="3505170"/>
            <a:ext cx="2405654" cy="2768630"/>
          </a:xfrm>
          <a:prstGeom prst="rect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8825" y="946702"/>
            <a:ext cx="4067176" cy="12498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06C01F3E-9E36-4C94-9547-62C82056E6A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1" y="1125539"/>
            <a:ext cx="2551610" cy="2303462"/>
          </a:xfrm>
          <a:prstGeom prst="rect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375A5718-5D74-4E87-80EC-F2110E5ADAE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96000" y="4900428"/>
            <a:ext cx="2551610" cy="1373372"/>
          </a:xfrm>
          <a:prstGeom prst="rect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375A5718-5D74-4E87-80EC-F2110E5ADAE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753476" y="2327905"/>
            <a:ext cx="2405653" cy="1101095"/>
          </a:xfrm>
          <a:prstGeom prst="rect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28362C07-870E-4BE5-8813-72DDF19A066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753476" y="1125539"/>
            <a:ext cx="2405654" cy="110600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0" dist="254000" dir="5400000" algn="t" rotWithShape="0">
              <a:prstClr val="black">
                <a:alpha val="30000"/>
              </a:prstClr>
            </a:outerShdw>
          </a:effectLst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28362C07-870E-4BE5-8813-72DDF19A066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96001" y="3505170"/>
            <a:ext cx="2551609" cy="131908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0" dist="254000" dir="5400000" algn="t" rotWithShape="0">
              <a:prstClr val="black">
                <a:alpha val="30000"/>
              </a:prstClr>
            </a:outerShdw>
          </a:effectLst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9614266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ccel="50000" decel="50000" autoRev="1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mph" presetSubtype="0" accel="50000" decel="5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" presetClass="emph" presetSubtype="0" accel="50000" decel="50000" autoRev="1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Scale>
                                      <p:cBhvr>
                                        <p:cTn id="19" dur="500" fill="hold"/>
                                        <p:tgtEl>
                                          <p:spTgt spid="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" presetClass="emph" presetSubtype="0" accel="50000" decel="50000" autoRev="1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24" dur="500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5" presetID="22" presetClass="entr" presetSubtype="8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6" presetClass="emph" presetSubtype="0" accel="50000" decel="50000" autoRev="1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29" dur="500" fill="hold"/>
                                        <p:tgtEl>
                                          <p:spTgt spid="1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6" presetClass="emph" presetSubtype="0" accel="50000" decel="5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4" dur="500" fill="hold"/>
                                        <p:tgtEl>
                                          <p:spTgt spid="1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7" grpId="0" animBg="1"/>
      <p:bldP spid="7" grpId="1" animBg="1"/>
      <p:bldP spid="9" grpId="0" animBg="1"/>
      <p:bldP spid="9" grpId="1" animBg="1"/>
      <p:bldP spid="10" grpId="0" animBg="1"/>
      <p:bldP spid="10" grpId="1" animBg="1"/>
      <p:bldP spid="6" grpId="0" animBg="1"/>
      <p:bldP spid="6" grpId="1" animBg="1"/>
      <p:bldP spid="11" grpId="0" animBg="1"/>
      <p:bldP spid="11" grpId="1" animBg="1"/>
    </p:bld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2030852" y="1152057"/>
            <a:ext cx="1800000" cy="18000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762000" dist="254000" dir="5400000" algn="t" rotWithShape="0">
              <a:prstClr val="black">
                <a:alpha val="30000"/>
              </a:prstClr>
            </a:outerShdw>
          </a:effectLst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FAB3E5E-4F20-7540-9D9E-966E24F797BC}"/>
              </a:ext>
            </a:extLst>
          </p:cNvPr>
          <p:cNvSpPr/>
          <p:nvPr userDrawn="1"/>
        </p:nvSpPr>
        <p:spPr>
          <a:xfrm>
            <a:off x="2030852" y="5722925"/>
            <a:ext cx="3464426" cy="564045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0" dist="254000" dir="540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defTabSz="914330">
              <a:lnSpc>
                <a:spcPct val="130000"/>
              </a:lnSpc>
            </a:pPr>
            <a:endParaRPr lang="en-US" sz="1000" dirty="0">
              <a:solidFill>
                <a:srgbClr val="FFFFFF">
                  <a:alpha val="70000"/>
                </a:srgbClr>
              </a:solidFill>
              <a:latin typeface="Helvetica" pitchFamily="2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4033026-EDB9-FE46-B4D1-41D09572F7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30413" y="3349625"/>
            <a:ext cx="8232173" cy="140335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8EB06AB-23B0-9248-AC3F-E98B39831B2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184400" y="5815013"/>
            <a:ext cx="2751138" cy="400050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601574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ccel="50000" decel="50000" autoRev="1" fill="hold" grpId="1" nodeType="withEffect">
                                  <p:stCondLst>
                                    <p:cond delay="90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mph" presetSubtype="0" accel="50000" decel="50000" autoRev="1" fill="hold" grpId="1" nodeType="withEffect">
                                  <p:stCondLst>
                                    <p:cond delay="1500"/>
                                  </p:stCondLst>
                                  <p:childTnLst>
                                    <p:animScale>
                                      <p:cBhvr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7" grpId="1" animBg="1"/>
      <p:bldP spid="4" grpId="0" animBg="1"/>
      <p:bldP spid="4" grpId="1" animBg="1"/>
    </p:bld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Speaker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019175" y="3802615"/>
            <a:ext cx="10153650" cy="2471185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1019175" y="1125538"/>
            <a:ext cx="10153650" cy="2471185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4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2135300" y="4219023"/>
            <a:ext cx="900000" cy="900000"/>
          </a:xfrm>
          <a:prstGeom prst="ellipse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  <a:effectLst>
            <a:outerShdw blurRad="508000" dist="190500" dir="5400000" algn="t" rotWithShape="0">
              <a:prstClr val="black">
                <a:alpha val="20000"/>
              </a:prstClr>
            </a:outerShdw>
          </a:effectLst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4478594" y="4219023"/>
            <a:ext cx="900000" cy="900000"/>
          </a:xfrm>
          <a:prstGeom prst="ellipse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  <a:effectLst>
            <a:outerShdw blurRad="508000" dist="190500" dir="5400000" algn="t" rotWithShape="0">
              <a:prstClr val="black">
                <a:alpha val="20000"/>
              </a:prstClr>
            </a:outerShdw>
          </a:effectLst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821888" y="4219023"/>
            <a:ext cx="900000" cy="900000"/>
          </a:xfrm>
          <a:prstGeom prst="ellipse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  <a:effectLst>
            <a:outerShdw blurRad="508000" dist="190500" dir="5400000" algn="t" rotWithShape="0">
              <a:prstClr val="black">
                <a:alpha val="20000"/>
              </a:prstClr>
            </a:outerShdw>
          </a:effectLst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9162250" y="4219023"/>
            <a:ext cx="900000" cy="900000"/>
          </a:xfrm>
          <a:prstGeom prst="ellipse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  <a:effectLst>
            <a:outerShdw blurRad="508000" dist="190500" dir="5400000" algn="t" rotWithShape="0">
              <a:prstClr val="black">
                <a:alpha val="20000"/>
              </a:prstClr>
            </a:outerShdw>
          </a:effectLst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2135300" y="1606452"/>
            <a:ext cx="900000" cy="900000"/>
          </a:xfrm>
          <a:prstGeom prst="ellipse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  <a:effectLst>
            <a:outerShdw blurRad="508000" dist="190500" dir="5400000" algn="t" rotWithShape="0">
              <a:prstClr val="black">
                <a:alpha val="20000"/>
              </a:prstClr>
            </a:outerShdw>
          </a:effectLst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7"/>
          </p:nvPr>
        </p:nvSpPr>
        <p:spPr>
          <a:xfrm>
            <a:off x="4478594" y="1606452"/>
            <a:ext cx="900000" cy="900000"/>
          </a:xfrm>
          <a:prstGeom prst="ellipse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  <a:effectLst>
            <a:outerShdw blurRad="508000" dist="190500" dir="5400000" algn="t" rotWithShape="0">
              <a:prstClr val="black">
                <a:alpha val="20000"/>
              </a:prstClr>
            </a:outerShdw>
          </a:effectLst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8"/>
          </p:nvPr>
        </p:nvSpPr>
        <p:spPr>
          <a:xfrm>
            <a:off x="6821888" y="1606452"/>
            <a:ext cx="900000" cy="900000"/>
          </a:xfrm>
          <a:prstGeom prst="ellipse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  <a:effectLst>
            <a:outerShdw blurRad="508000" dist="190500" dir="5400000" algn="t" rotWithShape="0">
              <a:prstClr val="black">
                <a:alpha val="20000"/>
              </a:prstClr>
            </a:outerShdw>
          </a:effectLst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9"/>
          </p:nvPr>
        </p:nvSpPr>
        <p:spPr>
          <a:xfrm>
            <a:off x="9162250" y="1606452"/>
            <a:ext cx="900000" cy="900000"/>
          </a:xfrm>
          <a:prstGeom prst="ellipse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  <a:effectLst>
            <a:outerShdw blurRad="508000" dist="190500" dir="5400000" algn="t" rotWithShape="0">
              <a:prstClr val="black">
                <a:alpha val="20000"/>
              </a:prstClr>
            </a:outerShdw>
          </a:effectLst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99097323-A27D-D84B-98ED-1914950E196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675564" y="2987315"/>
            <a:ext cx="1830282" cy="419652"/>
          </a:xfrm>
        </p:spPr>
        <p:txBody>
          <a:bodyPr>
            <a:normAutofit/>
          </a:bodyPr>
          <a:lstStyle>
            <a:lvl1pPr algn="ctr"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63310D27-1189-9746-93D7-6E3E461D4C9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851834" y="2614786"/>
            <a:ext cx="1475260" cy="275023"/>
          </a:xfrm>
        </p:spPr>
        <p:txBody>
          <a:bodyPr>
            <a:noAutofit/>
          </a:bodyPr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846CE2E7-8513-0440-A74A-973BB0562EF0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027551" y="3002120"/>
            <a:ext cx="1830282" cy="419652"/>
          </a:xfrm>
        </p:spPr>
        <p:txBody>
          <a:bodyPr>
            <a:normAutofit/>
          </a:bodyPr>
          <a:lstStyle>
            <a:lvl1pPr algn="ctr"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5CCF5935-57F3-F84B-B543-1FCEEC939BC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203821" y="2629591"/>
            <a:ext cx="1475260" cy="275023"/>
          </a:xfrm>
        </p:spPr>
        <p:txBody>
          <a:bodyPr>
            <a:noAutofit/>
          </a:bodyPr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6E70E887-7E3E-9D4F-B51F-D0447EF5DBC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363127" y="3002120"/>
            <a:ext cx="1830282" cy="419652"/>
          </a:xfrm>
        </p:spPr>
        <p:txBody>
          <a:bodyPr>
            <a:normAutofit/>
          </a:bodyPr>
          <a:lstStyle>
            <a:lvl1pPr algn="ctr"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DA6446E2-C867-1942-9E63-F1A6AAB3455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539397" y="2629591"/>
            <a:ext cx="1475260" cy="275023"/>
          </a:xfrm>
        </p:spPr>
        <p:txBody>
          <a:bodyPr>
            <a:noAutofit/>
          </a:bodyPr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8C02AB94-730A-8443-8AEA-668F60D569D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698703" y="3002120"/>
            <a:ext cx="1830282" cy="419652"/>
          </a:xfrm>
        </p:spPr>
        <p:txBody>
          <a:bodyPr>
            <a:normAutofit/>
          </a:bodyPr>
          <a:lstStyle>
            <a:lvl1pPr algn="ctr"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7CBEAF43-7350-2140-B026-F639E7FC1108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8874973" y="2629591"/>
            <a:ext cx="1475260" cy="275023"/>
          </a:xfrm>
        </p:spPr>
        <p:txBody>
          <a:bodyPr>
            <a:noAutofit/>
          </a:bodyPr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0DB8B83C-85BF-F046-9B8E-4C8A1807DF06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675564" y="5587295"/>
            <a:ext cx="1830282" cy="419652"/>
          </a:xfrm>
        </p:spPr>
        <p:txBody>
          <a:bodyPr>
            <a:normAutofit/>
          </a:bodyPr>
          <a:lstStyle>
            <a:lvl1pPr algn="ctr"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9402A0E9-F6F8-184E-8527-5BE698F0ECE6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851834" y="5214766"/>
            <a:ext cx="1475260" cy="275023"/>
          </a:xfrm>
        </p:spPr>
        <p:txBody>
          <a:bodyPr>
            <a:noAutofit/>
          </a:bodyPr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E704A887-E595-2048-992A-287AEE7A346A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027551" y="5602100"/>
            <a:ext cx="1830282" cy="419652"/>
          </a:xfrm>
        </p:spPr>
        <p:txBody>
          <a:bodyPr>
            <a:normAutofit/>
          </a:bodyPr>
          <a:lstStyle>
            <a:lvl1pPr algn="ctr"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60328962-1FC3-4441-9422-549EFC10E78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203821" y="5229571"/>
            <a:ext cx="1475260" cy="275023"/>
          </a:xfrm>
        </p:spPr>
        <p:txBody>
          <a:bodyPr>
            <a:noAutofit/>
          </a:bodyPr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8A8C88C-FAC8-8A47-A257-F6903A43A502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363127" y="5602100"/>
            <a:ext cx="1830282" cy="419652"/>
          </a:xfrm>
        </p:spPr>
        <p:txBody>
          <a:bodyPr>
            <a:normAutofit/>
          </a:bodyPr>
          <a:lstStyle>
            <a:lvl1pPr algn="ctr"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728D1A1B-418B-0449-A4D0-FCE84835513B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539397" y="5229571"/>
            <a:ext cx="1475260" cy="275023"/>
          </a:xfrm>
        </p:spPr>
        <p:txBody>
          <a:bodyPr>
            <a:noAutofit/>
          </a:bodyPr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C940F02A-91A8-9E40-B245-47F599606283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8698703" y="5602100"/>
            <a:ext cx="1830282" cy="419652"/>
          </a:xfrm>
        </p:spPr>
        <p:txBody>
          <a:bodyPr>
            <a:normAutofit/>
          </a:bodyPr>
          <a:lstStyle>
            <a:lvl1pPr algn="ctr"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3D967AAC-08F4-9C4F-AEE9-0C2C845BB016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874973" y="5229571"/>
            <a:ext cx="1475260" cy="275023"/>
          </a:xfrm>
        </p:spPr>
        <p:txBody>
          <a:bodyPr>
            <a:noAutofit/>
          </a:bodyPr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982176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ccel="50000" decel="50000" autoRev="1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mph" presetSubtype="0" accel="50000" decel="50000" autoRev="1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" presetClass="emph" presetSubtype="0" accel="50000" decel="50000" autoRev="1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animScale>
                                      <p:cBhvr>
                                        <p:cTn id="19" dur="500" fill="hold"/>
                                        <p:tgtEl>
                                          <p:spTgt spid="1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" presetClass="emph" presetSubtype="0" accel="50000" decel="50000" autoRev="1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24" dur="500" fill="hold"/>
                                        <p:tgtEl>
                                          <p:spTgt spid="1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8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8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6" presetClass="emph" presetSubtype="0" accel="50000" decel="50000" autoRev="1" fill="hold" grpId="1" nodeType="withEffect">
                                  <p:stCondLst>
                                    <p:cond delay="1300"/>
                                  </p:stCondLst>
                                  <p:childTnLst>
                                    <p:animScale>
                                      <p:cBhvr>
                                        <p:cTn id="35" dur="500" fill="hold"/>
                                        <p:tgtEl>
                                          <p:spTgt spid="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6" presetID="22" presetClass="entr" presetSubtype="8" fill="hold" grpId="0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6" presetClass="emph" presetSubtype="0" accel="50000" decel="50000" autoRev="1" fill="hold" grpId="1" nodeType="withEffect">
                                  <p:stCondLst>
                                    <p:cond delay="1700"/>
                                  </p:stCondLst>
                                  <p:childTnLst>
                                    <p:animScale>
                                      <p:cBhvr>
                                        <p:cTn id="40" dur="500" fill="hold"/>
                                        <p:tgtEl>
                                          <p:spTgt spid="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1" presetID="22" presetClass="entr" presetSubtype="8" fill="hold" grpId="0" nodeType="withEffect">
                                  <p:stCondLst>
                                    <p:cond delay="21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6" presetClass="emph" presetSubtype="0" accel="50000" decel="50000" autoRev="1" fill="hold" grpId="1" nodeType="withEffect">
                                  <p:stCondLst>
                                    <p:cond delay="2100"/>
                                  </p:stCondLst>
                                  <p:childTnLst>
                                    <p:animScale>
                                      <p:cBhvr>
                                        <p:cTn id="45" dur="500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6" presetID="22" presetClass="entr" presetSubtype="8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6" presetClass="emph" presetSubtype="0" accel="50000" decel="50000" autoRev="1" fill="hold" grpId="1" nodeType="withEffect">
                                  <p:stCondLst>
                                    <p:cond delay="2500"/>
                                  </p:stCondLst>
                                  <p:childTnLst>
                                    <p:animScale>
                                      <p:cBhvr>
                                        <p:cTn id="50" dur="500" fill="hold"/>
                                        <p:tgtEl>
                                          <p:spTgt spid="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4" grpId="0" animBg="1"/>
      <p:bldP spid="4" grpId="1" animBg="1"/>
      <p:bldP spid="5" grpId="0" animBg="1"/>
      <p:bldP spid="5" grpId="1" animBg="1"/>
      <p:bldP spid="6" grpId="0" animBg="1"/>
      <p:bldP spid="6" grpId="1" animBg="1"/>
      <p:bldP spid="7" grpId="0" animBg="1"/>
      <p:bldP spid="7" grpId="1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</p:bld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s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5F64E46F-4B39-E048-9CB6-265058B74E74}"/>
              </a:ext>
            </a:extLst>
          </p:cNvPr>
          <p:cNvSpPr/>
          <p:nvPr userDrawn="1"/>
        </p:nvSpPr>
        <p:spPr>
          <a:xfrm>
            <a:off x="9065244" y="2426288"/>
            <a:ext cx="2109600" cy="3847512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241300" dist="1270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1EAC9D2-617D-0343-8C02-FD3B0CEC7B9B}"/>
              </a:ext>
            </a:extLst>
          </p:cNvPr>
          <p:cNvSpPr/>
          <p:nvPr userDrawn="1"/>
        </p:nvSpPr>
        <p:spPr>
          <a:xfrm>
            <a:off x="6723488" y="2426288"/>
            <a:ext cx="2109600" cy="3847512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241300" dist="1270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0C952BD-4288-7649-9351-88EA0D415E89}"/>
              </a:ext>
            </a:extLst>
          </p:cNvPr>
          <p:cNvSpPr/>
          <p:nvPr userDrawn="1"/>
        </p:nvSpPr>
        <p:spPr>
          <a:xfrm>
            <a:off x="4370580" y="2426288"/>
            <a:ext cx="2109600" cy="3847512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241300" dist="1270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221BA74-6FE0-994D-AE35-3CAB2F875585}"/>
              </a:ext>
            </a:extLst>
          </p:cNvPr>
          <p:cNvSpPr/>
          <p:nvPr userDrawn="1"/>
        </p:nvSpPr>
        <p:spPr>
          <a:xfrm>
            <a:off x="2028824" y="2426288"/>
            <a:ext cx="2109600" cy="3847512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241300" dist="1270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209FA2F3-9BFA-8649-814F-9E292C80BD3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297047" y="4601822"/>
            <a:ext cx="1645995" cy="1372129"/>
          </a:xfrm>
        </p:spPr>
        <p:txBody>
          <a:bodyPr>
            <a:normAutofit/>
          </a:bodyPr>
          <a:lstStyle>
            <a:lvl1pPr algn="ctr"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88AED00F-498E-0245-B2DB-39A6702BCA4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00066" y="4104940"/>
            <a:ext cx="1639957" cy="417362"/>
          </a:xfrm>
        </p:spPr>
        <p:txBody>
          <a:bodyPr>
            <a:noAutofit/>
          </a:bodyPr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4885537" y="2795200"/>
            <a:ext cx="1080000" cy="10800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762000" dist="254000" dir="5400000" algn="t" rotWithShape="0">
              <a:prstClr val="black">
                <a:alpha val="30000"/>
              </a:prstClr>
            </a:outerShdw>
          </a:effectLst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229360" y="2795200"/>
            <a:ext cx="1080000" cy="1080000"/>
          </a:xfrm>
          <a:prstGeom prst="ellipse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9572468" y="2795200"/>
            <a:ext cx="1080000" cy="1080000"/>
          </a:xfrm>
          <a:prstGeom prst="ellipse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Picture Placeholder 8"/>
          <p:cNvSpPr>
            <a:spLocks noGrp="1"/>
          </p:cNvSpPr>
          <p:nvPr>
            <p:ph type="pic" sz="quarter" idx="18"/>
          </p:nvPr>
        </p:nvSpPr>
        <p:spPr>
          <a:xfrm>
            <a:off x="2541714" y="2795200"/>
            <a:ext cx="1080000" cy="1080000"/>
          </a:xfrm>
          <a:prstGeom prst="ellipse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92C05159-FEEE-E641-908F-68FF2A127A5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270058" y="4601822"/>
            <a:ext cx="1645995" cy="1372129"/>
          </a:xfrm>
        </p:spPr>
        <p:txBody>
          <a:bodyPr>
            <a:normAutofit/>
          </a:bodyPr>
          <a:lstStyle>
            <a:lvl1pPr algn="ctr"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EB7C92CD-21AC-D14E-9422-67549FFB9DB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266121" y="4104940"/>
            <a:ext cx="1639957" cy="417362"/>
          </a:xfrm>
        </p:spPr>
        <p:txBody>
          <a:bodyPr>
            <a:noAutofit/>
          </a:bodyPr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E0F71E9-DC0E-BD4A-A2D2-042DE7E68694}"/>
              </a:ext>
            </a:extLst>
          </p:cNvPr>
          <p:cNvSpPr/>
          <p:nvPr userDrawn="1"/>
        </p:nvSpPr>
        <p:spPr>
          <a:xfrm>
            <a:off x="2024856" y="2426287"/>
            <a:ext cx="2109600" cy="69064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6FFE46C4-4E22-A343-A2A2-CAA2D62593B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02383" y="4601822"/>
            <a:ext cx="1645995" cy="1372129"/>
          </a:xfrm>
        </p:spPr>
        <p:txBody>
          <a:bodyPr>
            <a:normAutofit/>
          </a:bodyPr>
          <a:lstStyle>
            <a:lvl1pPr algn="ctr"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3EA72677-4C3D-9B41-AD00-833CA400434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605402" y="4104940"/>
            <a:ext cx="1639957" cy="417362"/>
          </a:xfrm>
        </p:spPr>
        <p:txBody>
          <a:bodyPr>
            <a:noAutofit/>
          </a:bodyPr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C13D7A01-51B1-D54A-A1F0-8CC0D2ACFAD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955291" y="4601822"/>
            <a:ext cx="1645995" cy="1372129"/>
          </a:xfrm>
        </p:spPr>
        <p:txBody>
          <a:bodyPr>
            <a:normAutofit/>
          </a:bodyPr>
          <a:lstStyle>
            <a:lvl1pPr algn="ctr"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E6D28CCB-7197-7843-B90B-CC6129F3E45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958310" y="4104940"/>
            <a:ext cx="1639957" cy="417362"/>
          </a:xfrm>
        </p:spPr>
        <p:txBody>
          <a:bodyPr>
            <a:noAutofit/>
          </a:bodyPr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D52F1A3-FDE7-CA45-BB06-8D20E80113BE}"/>
              </a:ext>
            </a:extLst>
          </p:cNvPr>
          <p:cNvSpPr/>
          <p:nvPr userDrawn="1"/>
        </p:nvSpPr>
        <p:spPr>
          <a:xfrm>
            <a:off x="4366612" y="2426287"/>
            <a:ext cx="2109600" cy="69064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378BE43-08F2-6A46-8B7F-D48219293BC3}"/>
              </a:ext>
            </a:extLst>
          </p:cNvPr>
          <p:cNvSpPr/>
          <p:nvPr userDrawn="1"/>
        </p:nvSpPr>
        <p:spPr>
          <a:xfrm>
            <a:off x="6708368" y="2426287"/>
            <a:ext cx="2109600" cy="69064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ED416D70-F0E0-CE47-A012-DD63A5563856}"/>
              </a:ext>
            </a:extLst>
          </p:cNvPr>
          <p:cNvSpPr/>
          <p:nvPr userDrawn="1"/>
        </p:nvSpPr>
        <p:spPr>
          <a:xfrm>
            <a:off x="9061276" y="2426287"/>
            <a:ext cx="2109600" cy="69064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06265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ccel="50000" decel="5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1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mph" presetSubtype="0" accel="50000" decel="50000" autoRev="1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Scale>
                                      <p:cBhvr>
                                        <p:cTn id="14" dur="500" fill="hold"/>
                                        <p:tgtEl>
                                          <p:spTgt spid="1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" presetClass="emph" presetSubtype="0" accel="50000" decel="50000" autoRev="1" fill="hold" grpId="1" nodeType="withEffect">
                                  <p:stCondLst>
                                    <p:cond delay="1400"/>
                                  </p:stCondLst>
                                  <p:childTnLst>
                                    <p:animScale>
                                      <p:cBhvr>
                                        <p:cTn id="19" dur="500" fill="hold"/>
                                        <p:tgtEl>
                                          <p:spTgt spid="1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grpId="0" nodeType="withEffect">
                                  <p:stCondLst>
                                    <p:cond delay="2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" presetClass="emph" presetSubtype="0" accel="50000" decel="50000" autoRev="1" fill="hold" grpId="1" nodeType="withEffect">
                                  <p:stCondLst>
                                    <p:cond delay="2300"/>
                                  </p:stCondLst>
                                  <p:childTnLst>
                                    <p:animScale>
                                      <p:cBhvr>
                                        <p:cTn id="24" dur="500" fill="hold"/>
                                        <p:tgtEl>
                                          <p:spTgt spid="1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  <p:bldP spid="19" grpId="0" animBg="1"/>
      <p:bldP spid="19" grpId="1" animBg="1"/>
    </p:bld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209FA2F3-9BFA-8649-814F-9E292C80BD3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297047" y="4601822"/>
            <a:ext cx="1645995" cy="1372129"/>
          </a:xfrm>
        </p:spPr>
        <p:txBody>
          <a:bodyPr>
            <a:normAutofit/>
          </a:bodyPr>
          <a:lstStyle>
            <a:lvl1pPr algn="ctr"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88AED00F-498E-0245-B2DB-39A6702BCA4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00066" y="4104940"/>
            <a:ext cx="1639957" cy="417362"/>
          </a:xfrm>
        </p:spPr>
        <p:txBody>
          <a:bodyPr>
            <a:noAutofit/>
          </a:bodyPr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4885537" y="2795200"/>
            <a:ext cx="1080000" cy="10800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762000" dist="254000" dir="5400000" algn="t" rotWithShape="0">
              <a:prstClr val="black">
                <a:alpha val="30000"/>
              </a:prstClr>
            </a:outerShdw>
          </a:effectLst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229360" y="2795200"/>
            <a:ext cx="1080000" cy="1080000"/>
          </a:xfrm>
          <a:prstGeom prst="ellipse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9572468" y="2795200"/>
            <a:ext cx="1080000" cy="1080000"/>
          </a:xfrm>
          <a:prstGeom prst="ellipse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Picture Placeholder 8"/>
          <p:cNvSpPr>
            <a:spLocks noGrp="1"/>
          </p:cNvSpPr>
          <p:nvPr>
            <p:ph type="pic" sz="quarter" idx="18"/>
          </p:nvPr>
        </p:nvSpPr>
        <p:spPr>
          <a:xfrm>
            <a:off x="2541714" y="2795200"/>
            <a:ext cx="1080000" cy="1080000"/>
          </a:xfrm>
          <a:prstGeom prst="ellipse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92C05159-FEEE-E641-908F-68FF2A127A5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270058" y="4601822"/>
            <a:ext cx="1645995" cy="1372129"/>
          </a:xfrm>
        </p:spPr>
        <p:txBody>
          <a:bodyPr>
            <a:normAutofit/>
          </a:bodyPr>
          <a:lstStyle>
            <a:lvl1pPr algn="ctr"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EB7C92CD-21AC-D14E-9422-67549FFB9DB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266121" y="4104940"/>
            <a:ext cx="1639957" cy="417362"/>
          </a:xfrm>
        </p:spPr>
        <p:txBody>
          <a:bodyPr>
            <a:noAutofit/>
          </a:bodyPr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6FFE46C4-4E22-A343-A2A2-CAA2D62593B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602383" y="4601822"/>
            <a:ext cx="1645995" cy="1372129"/>
          </a:xfrm>
        </p:spPr>
        <p:txBody>
          <a:bodyPr>
            <a:normAutofit/>
          </a:bodyPr>
          <a:lstStyle>
            <a:lvl1pPr algn="ctr"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3EA72677-4C3D-9B41-AD00-833CA400434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605402" y="4104940"/>
            <a:ext cx="1639957" cy="417362"/>
          </a:xfrm>
        </p:spPr>
        <p:txBody>
          <a:bodyPr>
            <a:noAutofit/>
          </a:bodyPr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C13D7A01-51B1-D54A-A1F0-8CC0D2ACFAD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955291" y="4601822"/>
            <a:ext cx="1645995" cy="1372129"/>
          </a:xfrm>
        </p:spPr>
        <p:txBody>
          <a:bodyPr>
            <a:normAutofit/>
          </a:bodyPr>
          <a:lstStyle>
            <a:lvl1pPr algn="ctr"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E6D28CCB-7197-7843-B90B-CC6129F3E45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958310" y="4104940"/>
            <a:ext cx="1639957" cy="417362"/>
          </a:xfrm>
        </p:spPr>
        <p:txBody>
          <a:bodyPr>
            <a:noAutofit/>
          </a:bodyPr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22023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ccel="50000" decel="5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1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mph" presetSubtype="0" accel="50000" decel="50000" autoRev="1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Scale>
                                      <p:cBhvr>
                                        <p:cTn id="14" dur="500" fill="hold"/>
                                        <p:tgtEl>
                                          <p:spTgt spid="1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" presetClass="emph" presetSubtype="0" accel="50000" decel="50000" autoRev="1" fill="hold" grpId="1" nodeType="withEffect">
                                  <p:stCondLst>
                                    <p:cond delay="1400"/>
                                  </p:stCondLst>
                                  <p:childTnLst>
                                    <p:animScale>
                                      <p:cBhvr>
                                        <p:cTn id="19" dur="500" fill="hold"/>
                                        <p:tgtEl>
                                          <p:spTgt spid="1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grpId="0" nodeType="withEffect">
                                  <p:stCondLst>
                                    <p:cond delay="2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" presetClass="emph" presetSubtype="0" accel="50000" decel="50000" autoRev="1" fill="hold" grpId="1" nodeType="withEffect">
                                  <p:stCondLst>
                                    <p:cond delay="2300"/>
                                  </p:stCondLst>
                                  <p:childTnLst>
                                    <p:animScale>
                                      <p:cBhvr>
                                        <p:cTn id="24" dur="500" fill="hold"/>
                                        <p:tgtEl>
                                          <p:spTgt spid="1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  <p:bldP spid="19" grpId="0" animBg="1"/>
      <p:bldP spid="19" grpId="1" animBg="1"/>
    </p:bld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FAE6AF59-592D-4448-B2D4-DFFAD561853F}"/>
              </a:ext>
            </a:extLst>
          </p:cNvPr>
          <p:cNvSpPr/>
          <p:nvPr userDrawn="1"/>
        </p:nvSpPr>
        <p:spPr>
          <a:xfrm>
            <a:off x="5159650" y="2426288"/>
            <a:ext cx="2887046" cy="3847512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241300" dist="1270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D5E0A79-F7CF-9B40-AA19-D554640A133F}"/>
              </a:ext>
            </a:extLst>
          </p:cNvPr>
          <p:cNvSpPr/>
          <p:nvPr userDrawn="1"/>
        </p:nvSpPr>
        <p:spPr>
          <a:xfrm>
            <a:off x="8290476" y="2426288"/>
            <a:ext cx="2887046" cy="3847512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241300" dist="1270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BA93240-7280-0643-B768-A6009EE7D3A4}"/>
              </a:ext>
            </a:extLst>
          </p:cNvPr>
          <p:cNvSpPr/>
          <p:nvPr userDrawn="1"/>
        </p:nvSpPr>
        <p:spPr>
          <a:xfrm>
            <a:off x="2028824" y="2426288"/>
            <a:ext cx="2887046" cy="3847512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241300" dist="1270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065172" y="2795200"/>
            <a:ext cx="1080000" cy="10800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762000" dist="254000" dir="5400000" algn="t" rotWithShape="0">
              <a:prstClr val="black">
                <a:alpha val="30000"/>
              </a:prstClr>
            </a:outerShdw>
          </a:effectLst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9189301" y="2795200"/>
            <a:ext cx="1080000" cy="1080000"/>
          </a:xfrm>
          <a:prstGeom prst="ellipse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Picture Placeholder 8"/>
          <p:cNvSpPr>
            <a:spLocks noGrp="1"/>
          </p:cNvSpPr>
          <p:nvPr>
            <p:ph type="pic" sz="quarter" idx="18"/>
          </p:nvPr>
        </p:nvSpPr>
        <p:spPr>
          <a:xfrm>
            <a:off x="2938050" y="2795200"/>
            <a:ext cx="1080000" cy="1080000"/>
          </a:xfrm>
          <a:prstGeom prst="ellipse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AEF8483A-9A4A-0247-99E3-1168EBB4C8E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270058" y="4601822"/>
            <a:ext cx="2411272" cy="1372129"/>
          </a:xfrm>
        </p:spPr>
        <p:txBody>
          <a:bodyPr>
            <a:normAutofit/>
          </a:bodyPr>
          <a:lstStyle>
            <a:lvl1pPr algn="ctr"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7C3349FD-B75A-344F-9E36-E889BE7A0F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266121" y="4104940"/>
            <a:ext cx="2402427" cy="417362"/>
          </a:xfrm>
        </p:spPr>
        <p:txBody>
          <a:bodyPr>
            <a:noAutofit/>
          </a:bodyPr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07A6C54-9CEA-0A4D-A229-7C504E8A380C}"/>
              </a:ext>
            </a:extLst>
          </p:cNvPr>
          <p:cNvSpPr/>
          <p:nvPr userDrawn="1"/>
        </p:nvSpPr>
        <p:spPr>
          <a:xfrm>
            <a:off x="2024856" y="2426287"/>
            <a:ext cx="2887046" cy="69064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8113338C-846C-2A43-BC13-56E5E38C1B8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400884" y="4601822"/>
            <a:ext cx="2411272" cy="1372129"/>
          </a:xfrm>
        </p:spPr>
        <p:txBody>
          <a:bodyPr>
            <a:normAutofit/>
          </a:bodyPr>
          <a:lstStyle>
            <a:lvl1pPr algn="ctr"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54F89F1E-6398-1D45-B47C-E3E7BE74309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396947" y="4104940"/>
            <a:ext cx="2402427" cy="417362"/>
          </a:xfrm>
        </p:spPr>
        <p:txBody>
          <a:bodyPr>
            <a:noAutofit/>
          </a:bodyPr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45CB86E-59FE-0940-A2C8-F0062A0BFB86}"/>
              </a:ext>
            </a:extLst>
          </p:cNvPr>
          <p:cNvSpPr/>
          <p:nvPr userDrawn="1"/>
        </p:nvSpPr>
        <p:spPr>
          <a:xfrm>
            <a:off x="5155682" y="2426287"/>
            <a:ext cx="2887046" cy="69064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06FD74FF-5723-814F-B329-85AE554E9CB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531710" y="4601822"/>
            <a:ext cx="2411272" cy="1372129"/>
          </a:xfrm>
        </p:spPr>
        <p:txBody>
          <a:bodyPr>
            <a:normAutofit/>
          </a:bodyPr>
          <a:lstStyle>
            <a:lvl1pPr algn="ctr"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1CD4AE00-1C4F-1549-9331-B3BC9B08873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527773" y="4104940"/>
            <a:ext cx="2402427" cy="417362"/>
          </a:xfrm>
        </p:spPr>
        <p:txBody>
          <a:bodyPr>
            <a:noAutofit/>
          </a:bodyPr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49FDB24-D765-2041-9ADF-D3A42B39C39D}"/>
              </a:ext>
            </a:extLst>
          </p:cNvPr>
          <p:cNvSpPr/>
          <p:nvPr userDrawn="1"/>
        </p:nvSpPr>
        <p:spPr>
          <a:xfrm>
            <a:off x="8286508" y="2426287"/>
            <a:ext cx="2887046" cy="69064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91600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ccel="50000" decel="50000" autoRev="1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1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mph" presetSubtype="0" accel="50000" decel="50000" autoRev="1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14" dur="500" fill="hold"/>
                                        <p:tgtEl>
                                          <p:spTgt spid="1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" presetClass="emph" presetSubtype="0" accel="50000" decel="50000" autoRev="1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animScale>
                                      <p:cBhvr>
                                        <p:cTn id="19" dur="500" fill="hold"/>
                                        <p:tgtEl>
                                          <p:spTgt spid="1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6" grpId="1" animBg="1"/>
      <p:bldP spid="17" grpId="0" animBg="1"/>
      <p:bldP spid="17" grpId="1" animBg="1"/>
      <p:bldP spid="19" grpId="0" animBg="1"/>
      <p:bldP spid="19" grpId="1" animBg="1"/>
    </p:bld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E4A395-4953-43F6-963D-B87EDEA667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310EBE-9F25-4CD8-AF3A-1848288BF26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C7C9857-197F-490D-B70B-825FB4F3512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0984C7A-5515-4802-A32E-C160D7AC1F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AC083D-F5AF-42DD-9415-443547F10D74}" type="datetimeFigureOut">
              <a:rPr lang="en-US" smtClean="0"/>
              <a:t>2/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2A59C4B-29CF-497E-B6E8-78B5294348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DDB230E-C20B-4E56-ABE0-877CFA5033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A7142F-4899-484A-BFB9-94EBEDABD3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076518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 v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065172" y="2795200"/>
            <a:ext cx="1080000" cy="10800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762000" dist="254000" dir="5400000" algn="t" rotWithShape="0">
              <a:prstClr val="black">
                <a:alpha val="30000"/>
              </a:prstClr>
            </a:outerShdw>
          </a:effectLst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9189301" y="2795200"/>
            <a:ext cx="1080000" cy="1080000"/>
          </a:xfrm>
          <a:prstGeom prst="ellipse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Picture Placeholder 8"/>
          <p:cNvSpPr>
            <a:spLocks noGrp="1"/>
          </p:cNvSpPr>
          <p:nvPr>
            <p:ph type="pic" sz="quarter" idx="18"/>
          </p:nvPr>
        </p:nvSpPr>
        <p:spPr>
          <a:xfrm>
            <a:off x="2938050" y="2795200"/>
            <a:ext cx="1080000" cy="1080000"/>
          </a:xfrm>
          <a:prstGeom prst="ellipse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AF572BB1-D212-E448-8922-8BA438D6ABD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270058" y="4601822"/>
            <a:ext cx="2411272" cy="1372129"/>
          </a:xfrm>
        </p:spPr>
        <p:txBody>
          <a:bodyPr>
            <a:normAutofit/>
          </a:bodyPr>
          <a:lstStyle>
            <a:lvl1pPr algn="ctr"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EDF81C1A-C729-154E-ADAB-A7695A8865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266121" y="4104940"/>
            <a:ext cx="2402427" cy="417362"/>
          </a:xfrm>
        </p:spPr>
        <p:txBody>
          <a:bodyPr>
            <a:noAutofit/>
          </a:bodyPr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5BFBCE49-2950-1342-B549-EFCC0384ABF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412314" y="4601822"/>
            <a:ext cx="2411272" cy="1372129"/>
          </a:xfrm>
        </p:spPr>
        <p:txBody>
          <a:bodyPr>
            <a:normAutofit/>
          </a:bodyPr>
          <a:lstStyle>
            <a:lvl1pPr algn="ctr"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50FC8D42-5AD9-F044-9F1C-0F1B9D8CF20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408377" y="4104940"/>
            <a:ext cx="2402427" cy="417362"/>
          </a:xfrm>
        </p:spPr>
        <p:txBody>
          <a:bodyPr>
            <a:noAutofit/>
          </a:bodyPr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A30B9954-6DC9-7F4B-A275-4B3FB08AED5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531710" y="4601822"/>
            <a:ext cx="2411272" cy="1372129"/>
          </a:xfrm>
        </p:spPr>
        <p:txBody>
          <a:bodyPr>
            <a:normAutofit/>
          </a:bodyPr>
          <a:lstStyle>
            <a:lvl1pPr algn="ctr"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8018DD31-6F66-1641-B9D2-264A8126FF6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527773" y="4104940"/>
            <a:ext cx="2402427" cy="417362"/>
          </a:xfrm>
        </p:spPr>
        <p:txBody>
          <a:bodyPr>
            <a:noAutofit/>
          </a:bodyPr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64341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ccel="50000" decel="50000" autoRev="1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1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mph" presetSubtype="0" accel="50000" decel="50000" autoRev="1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14" dur="500" fill="hold"/>
                                        <p:tgtEl>
                                          <p:spTgt spid="1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" presetClass="emph" presetSubtype="0" accel="50000" decel="50000" autoRev="1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animScale>
                                      <p:cBhvr>
                                        <p:cTn id="19" dur="500" fill="hold"/>
                                        <p:tgtEl>
                                          <p:spTgt spid="1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6" grpId="1" animBg="1"/>
      <p:bldP spid="17" grpId="0" animBg="1"/>
      <p:bldP spid="17" grpId="1" animBg="1"/>
      <p:bldP spid="19" grpId="0" animBg="1"/>
      <p:bldP spid="19" grpId="1" animBg="1"/>
    </p:bld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23575" y="356459"/>
            <a:ext cx="10058400" cy="6030254"/>
          </a:xfrm>
          <a:prstGeom prst="rect">
            <a:avLst/>
          </a:prstGeom>
          <a:effectLst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37EAF9D-1F56-4246-9AD0-E719CB3D5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8824" y="946702"/>
            <a:ext cx="3819715" cy="12498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56E8CE5C-F9F3-434D-AC0B-6AB02A330690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110473" y="810689"/>
            <a:ext cx="7696062" cy="4820566"/>
          </a:xfrm>
          <a:prstGeom prst="rect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A07E69DD-264B-6B47-AB2D-DB13D4B1160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028825" y="2762250"/>
            <a:ext cx="2423905" cy="2674938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40227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ccel="50000" decel="50000" autoRev="1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bile Multiple scre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99EC0F5-4903-42C0-A1C2-5080DDB468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0" y="667658"/>
            <a:ext cx="2803071" cy="5606142"/>
          </a:xfrm>
          <a:prstGeom prst="rect">
            <a:avLst/>
          </a:prstGeom>
        </p:spPr>
      </p:pic>
      <p:sp>
        <p:nvSpPr>
          <p:cNvPr id="5" name="Picture Placeholder 13">
            <a:extLst>
              <a:ext uri="{FF2B5EF4-FFF2-40B4-BE49-F238E27FC236}">
                <a16:creationId xmlns:a16="http://schemas.microsoft.com/office/drawing/2014/main" id="{741BE2A5-FB40-4E63-A02F-595E10C65890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6271874" y="822780"/>
            <a:ext cx="2448015" cy="5298281"/>
          </a:xfrm>
          <a:custGeom>
            <a:avLst/>
            <a:gdLst>
              <a:gd name="connsiteX0" fmla="*/ 250164 w 2509837"/>
              <a:gd name="connsiteY0" fmla="*/ 0 h 5326062"/>
              <a:gd name="connsiteX1" fmla="*/ 524933 w 2509837"/>
              <a:gd name="connsiteY1" fmla="*/ 0 h 5326062"/>
              <a:gd name="connsiteX2" fmla="*/ 557742 w 2509837"/>
              <a:gd name="connsiteY2" fmla="*/ 36205 h 5326062"/>
              <a:gd name="connsiteX3" fmla="*/ 557742 w 2509837"/>
              <a:gd name="connsiteY3" fmla="*/ 64363 h 5326062"/>
              <a:gd name="connsiteX4" fmla="*/ 701278 w 2509837"/>
              <a:gd name="connsiteY4" fmla="*/ 197113 h 5326062"/>
              <a:gd name="connsiteX5" fmla="*/ 1816761 w 2509837"/>
              <a:gd name="connsiteY5" fmla="*/ 197113 h 5326062"/>
              <a:gd name="connsiteX6" fmla="*/ 1956197 w 2509837"/>
              <a:gd name="connsiteY6" fmla="*/ 60341 h 5326062"/>
              <a:gd name="connsiteX7" fmla="*/ 1956197 w 2509837"/>
              <a:gd name="connsiteY7" fmla="*/ 36205 h 5326062"/>
              <a:gd name="connsiteX8" fmla="*/ 1989005 w 2509837"/>
              <a:gd name="connsiteY8" fmla="*/ 0 h 5326062"/>
              <a:gd name="connsiteX9" fmla="*/ 2259673 w 2509837"/>
              <a:gd name="connsiteY9" fmla="*/ 0 h 5326062"/>
              <a:gd name="connsiteX10" fmla="*/ 2509837 w 2509837"/>
              <a:gd name="connsiteY10" fmla="*/ 249408 h 5326062"/>
              <a:gd name="connsiteX11" fmla="*/ 2509837 w 2509837"/>
              <a:gd name="connsiteY11" fmla="*/ 5080677 h 5326062"/>
              <a:gd name="connsiteX12" fmla="*/ 2259673 w 2509837"/>
              <a:gd name="connsiteY12" fmla="*/ 5326062 h 5326062"/>
              <a:gd name="connsiteX13" fmla="*/ 250164 w 2509837"/>
              <a:gd name="connsiteY13" fmla="*/ 5326062 h 5326062"/>
              <a:gd name="connsiteX14" fmla="*/ 0 w 2509837"/>
              <a:gd name="connsiteY14" fmla="*/ 5080677 h 5326062"/>
              <a:gd name="connsiteX15" fmla="*/ 0 w 2509837"/>
              <a:gd name="connsiteY15" fmla="*/ 249408 h 5326062"/>
              <a:gd name="connsiteX16" fmla="*/ 250164 w 2509837"/>
              <a:gd name="connsiteY16" fmla="*/ 0 h 5326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509837" h="5326062">
                <a:moveTo>
                  <a:pt x="250164" y="0"/>
                </a:moveTo>
                <a:cubicBezTo>
                  <a:pt x="250164" y="0"/>
                  <a:pt x="250164" y="0"/>
                  <a:pt x="524933" y="0"/>
                </a:cubicBezTo>
                <a:cubicBezTo>
                  <a:pt x="541338" y="0"/>
                  <a:pt x="557742" y="16091"/>
                  <a:pt x="557742" y="36205"/>
                </a:cubicBezTo>
                <a:cubicBezTo>
                  <a:pt x="557742" y="36205"/>
                  <a:pt x="557742" y="36205"/>
                  <a:pt x="557742" y="64363"/>
                </a:cubicBezTo>
                <a:cubicBezTo>
                  <a:pt x="557742" y="104591"/>
                  <a:pt x="590550" y="197113"/>
                  <a:pt x="701278" y="197113"/>
                </a:cubicBezTo>
                <a:cubicBezTo>
                  <a:pt x="758693" y="197113"/>
                  <a:pt x="1718336" y="197113"/>
                  <a:pt x="1816761" y="197113"/>
                </a:cubicBezTo>
                <a:cubicBezTo>
                  <a:pt x="1915186" y="197113"/>
                  <a:pt x="1956197" y="108613"/>
                  <a:pt x="1956197" y="60341"/>
                </a:cubicBezTo>
                <a:cubicBezTo>
                  <a:pt x="1956197" y="60341"/>
                  <a:pt x="1956197" y="60341"/>
                  <a:pt x="1956197" y="36205"/>
                </a:cubicBezTo>
                <a:cubicBezTo>
                  <a:pt x="1956197" y="16091"/>
                  <a:pt x="1972601" y="0"/>
                  <a:pt x="1989005" y="0"/>
                </a:cubicBezTo>
                <a:cubicBezTo>
                  <a:pt x="1989005" y="0"/>
                  <a:pt x="1989005" y="0"/>
                  <a:pt x="2259673" y="0"/>
                </a:cubicBezTo>
                <a:cubicBezTo>
                  <a:pt x="2395008" y="0"/>
                  <a:pt x="2509837" y="112636"/>
                  <a:pt x="2509837" y="249408"/>
                </a:cubicBezTo>
                <a:cubicBezTo>
                  <a:pt x="2509837" y="249408"/>
                  <a:pt x="2509837" y="249408"/>
                  <a:pt x="2509837" y="5080677"/>
                </a:cubicBezTo>
                <a:cubicBezTo>
                  <a:pt x="2509837" y="5217449"/>
                  <a:pt x="2395008" y="5326062"/>
                  <a:pt x="2259673" y="5326062"/>
                </a:cubicBezTo>
                <a:cubicBezTo>
                  <a:pt x="2259673" y="5326062"/>
                  <a:pt x="2259673" y="5326062"/>
                  <a:pt x="250164" y="5326062"/>
                </a:cubicBezTo>
                <a:cubicBezTo>
                  <a:pt x="114829" y="5326062"/>
                  <a:pt x="0" y="5217449"/>
                  <a:pt x="0" y="5080677"/>
                </a:cubicBezTo>
                <a:cubicBezTo>
                  <a:pt x="0" y="5080677"/>
                  <a:pt x="0" y="5080677"/>
                  <a:pt x="0" y="249408"/>
                </a:cubicBezTo>
                <a:cubicBezTo>
                  <a:pt x="0" y="112636"/>
                  <a:pt x="114829" y="0"/>
                  <a:pt x="250164" y="0"/>
                </a:cubicBezTo>
                <a:close/>
              </a:path>
            </a:pathLst>
          </a:cu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13">
            <a:extLst>
              <a:ext uri="{FF2B5EF4-FFF2-40B4-BE49-F238E27FC236}">
                <a16:creationId xmlns:a16="http://schemas.microsoft.com/office/drawing/2014/main" id="{93C9A0EC-DCBE-4F64-8277-56F274261D1F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9074945" y="822780"/>
            <a:ext cx="2448015" cy="5298281"/>
          </a:xfrm>
          <a:custGeom>
            <a:avLst/>
            <a:gdLst>
              <a:gd name="connsiteX0" fmla="*/ 250164 w 2509837"/>
              <a:gd name="connsiteY0" fmla="*/ 0 h 5326062"/>
              <a:gd name="connsiteX1" fmla="*/ 524933 w 2509837"/>
              <a:gd name="connsiteY1" fmla="*/ 0 h 5326062"/>
              <a:gd name="connsiteX2" fmla="*/ 557742 w 2509837"/>
              <a:gd name="connsiteY2" fmla="*/ 36205 h 5326062"/>
              <a:gd name="connsiteX3" fmla="*/ 557742 w 2509837"/>
              <a:gd name="connsiteY3" fmla="*/ 64363 h 5326062"/>
              <a:gd name="connsiteX4" fmla="*/ 701278 w 2509837"/>
              <a:gd name="connsiteY4" fmla="*/ 197113 h 5326062"/>
              <a:gd name="connsiteX5" fmla="*/ 1816761 w 2509837"/>
              <a:gd name="connsiteY5" fmla="*/ 197113 h 5326062"/>
              <a:gd name="connsiteX6" fmla="*/ 1956197 w 2509837"/>
              <a:gd name="connsiteY6" fmla="*/ 60341 h 5326062"/>
              <a:gd name="connsiteX7" fmla="*/ 1956197 w 2509837"/>
              <a:gd name="connsiteY7" fmla="*/ 36205 h 5326062"/>
              <a:gd name="connsiteX8" fmla="*/ 1989005 w 2509837"/>
              <a:gd name="connsiteY8" fmla="*/ 0 h 5326062"/>
              <a:gd name="connsiteX9" fmla="*/ 2259673 w 2509837"/>
              <a:gd name="connsiteY9" fmla="*/ 0 h 5326062"/>
              <a:gd name="connsiteX10" fmla="*/ 2509837 w 2509837"/>
              <a:gd name="connsiteY10" fmla="*/ 249408 h 5326062"/>
              <a:gd name="connsiteX11" fmla="*/ 2509837 w 2509837"/>
              <a:gd name="connsiteY11" fmla="*/ 5080677 h 5326062"/>
              <a:gd name="connsiteX12" fmla="*/ 2259673 w 2509837"/>
              <a:gd name="connsiteY12" fmla="*/ 5326062 h 5326062"/>
              <a:gd name="connsiteX13" fmla="*/ 250164 w 2509837"/>
              <a:gd name="connsiteY13" fmla="*/ 5326062 h 5326062"/>
              <a:gd name="connsiteX14" fmla="*/ 0 w 2509837"/>
              <a:gd name="connsiteY14" fmla="*/ 5080677 h 5326062"/>
              <a:gd name="connsiteX15" fmla="*/ 0 w 2509837"/>
              <a:gd name="connsiteY15" fmla="*/ 249408 h 5326062"/>
              <a:gd name="connsiteX16" fmla="*/ 250164 w 2509837"/>
              <a:gd name="connsiteY16" fmla="*/ 0 h 5326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509837" h="5326062">
                <a:moveTo>
                  <a:pt x="250164" y="0"/>
                </a:moveTo>
                <a:cubicBezTo>
                  <a:pt x="250164" y="0"/>
                  <a:pt x="250164" y="0"/>
                  <a:pt x="524933" y="0"/>
                </a:cubicBezTo>
                <a:cubicBezTo>
                  <a:pt x="541338" y="0"/>
                  <a:pt x="557742" y="16091"/>
                  <a:pt x="557742" y="36205"/>
                </a:cubicBezTo>
                <a:cubicBezTo>
                  <a:pt x="557742" y="36205"/>
                  <a:pt x="557742" y="36205"/>
                  <a:pt x="557742" y="64363"/>
                </a:cubicBezTo>
                <a:cubicBezTo>
                  <a:pt x="557742" y="104591"/>
                  <a:pt x="590550" y="197113"/>
                  <a:pt x="701278" y="197113"/>
                </a:cubicBezTo>
                <a:cubicBezTo>
                  <a:pt x="758693" y="197113"/>
                  <a:pt x="1718336" y="197113"/>
                  <a:pt x="1816761" y="197113"/>
                </a:cubicBezTo>
                <a:cubicBezTo>
                  <a:pt x="1915186" y="197113"/>
                  <a:pt x="1956197" y="108613"/>
                  <a:pt x="1956197" y="60341"/>
                </a:cubicBezTo>
                <a:cubicBezTo>
                  <a:pt x="1956197" y="60341"/>
                  <a:pt x="1956197" y="60341"/>
                  <a:pt x="1956197" y="36205"/>
                </a:cubicBezTo>
                <a:cubicBezTo>
                  <a:pt x="1956197" y="16091"/>
                  <a:pt x="1972601" y="0"/>
                  <a:pt x="1989005" y="0"/>
                </a:cubicBezTo>
                <a:cubicBezTo>
                  <a:pt x="1989005" y="0"/>
                  <a:pt x="1989005" y="0"/>
                  <a:pt x="2259673" y="0"/>
                </a:cubicBezTo>
                <a:cubicBezTo>
                  <a:pt x="2395008" y="0"/>
                  <a:pt x="2509837" y="112636"/>
                  <a:pt x="2509837" y="249408"/>
                </a:cubicBezTo>
                <a:cubicBezTo>
                  <a:pt x="2509837" y="249408"/>
                  <a:pt x="2509837" y="249408"/>
                  <a:pt x="2509837" y="5080677"/>
                </a:cubicBezTo>
                <a:cubicBezTo>
                  <a:pt x="2509837" y="5217449"/>
                  <a:pt x="2395008" y="5326062"/>
                  <a:pt x="2259673" y="5326062"/>
                </a:cubicBezTo>
                <a:cubicBezTo>
                  <a:pt x="2259673" y="5326062"/>
                  <a:pt x="2259673" y="5326062"/>
                  <a:pt x="250164" y="5326062"/>
                </a:cubicBezTo>
                <a:cubicBezTo>
                  <a:pt x="114829" y="5326062"/>
                  <a:pt x="0" y="5217449"/>
                  <a:pt x="0" y="5080677"/>
                </a:cubicBezTo>
                <a:cubicBezTo>
                  <a:pt x="0" y="5080677"/>
                  <a:pt x="0" y="5080677"/>
                  <a:pt x="0" y="249408"/>
                </a:cubicBezTo>
                <a:cubicBezTo>
                  <a:pt x="0" y="112636"/>
                  <a:pt x="114829" y="0"/>
                  <a:pt x="250164" y="0"/>
                </a:cubicBezTo>
                <a:close/>
              </a:path>
            </a:pathLst>
          </a:cu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  <a:effectLst>
            <a:outerShdw blurRad="50800" dist="12700" dir="5400000" algn="t" rotWithShape="0">
              <a:prstClr val="black">
                <a:alpha val="10000"/>
              </a:prstClr>
            </a:outerShdw>
          </a:effectLst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13">
            <a:extLst>
              <a:ext uri="{FF2B5EF4-FFF2-40B4-BE49-F238E27FC236}">
                <a16:creationId xmlns:a16="http://schemas.microsoft.com/office/drawing/2014/main" id="{B112299D-D460-452A-A40D-D57BB87126AD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11698834" y="822780"/>
            <a:ext cx="2448015" cy="5298281"/>
          </a:xfrm>
          <a:custGeom>
            <a:avLst/>
            <a:gdLst>
              <a:gd name="connsiteX0" fmla="*/ 250164 w 2509837"/>
              <a:gd name="connsiteY0" fmla="*/ 0 h 5326062"/>
              <a:gd name="connsiteX1" fmla="*/ 524933 w 2509837"/>
              <a:gd name="connsiteY1" fmla="*/ 0 h 5326062"/>
              <a:gd name="connsiteX2" fmla="*/ 557742 w 2509837"/>
              <a:gd name="connsiteY2" fmla="*/ 36205 h 5326062"/>
              <a:gd name="connsiteX3" fmla="*/ 557742 w 2509837"/>
              <a:gd name="connsiteY3" fmla="*/ 64363 h 5326062"/>
              <a:gd name="connsiteX4" fmla="*/ 701278 w 2509837"/>
              <a:gd name="connsiteY4" fmla="*/ 197113 h 5326062"/>
              <a:gd name="connsiteX5" fmla="*/ 1816761 w 2509837"/>
              <a:gd name="connsiteY5" fmla="*/ 197113 h 5326062"/>
              <a:gd name="connsiteX6" fmla="*/ 1956197 w 2509837"/>
              <a:gd name="connsiteY6" fmla="*/ 60341 h 5326062"/>
              <a:gd name="connsiteX7" fmla="*/ 1956197 w 2509837"/>
              <a:gd name="connsiteY7" fmla="*/ 36205 h 5326062"/>
              <a:gd name="connsiteX8" fmla="*/ 1989005 w 2509837"/>
              <a:gd name="connsiteY8" fmla="*/ 0 h 5326062"/>
              <a:gd name="connsiteX9" fmla="*/ 2259673 w 2509837"/>
              <a:gd name="connsiteY9" fmla="*/ 0 h 5326062"/>
              <a:gd name="connsiteX10" fmla="*/ 2509837 w 2509837"/>
              <a:gd name="connsiteY10" fmla="*/ 249408 h 5326062"/>
              <a:gd name="connsiteX11" fmla="*/ 2509837 w 2509837"/>
              <a:gd name="connsiteY11" fmla="*/ 5080677 h 5326062"/>
              <a:gd name="connsiteX12" fmla="*/ 2259673 w 2509837"/>
              <a:gd name="connsiteY12" fmla="*/ 5326062 h 5326062"/>
              <a:gd name="connsiteX13" fmla="*/ 250164 w 2509837"/>
              <a:gd name="connsiteY13" fmla="*/ 5326062 h 5326062"/>
              <a:gd name="connsiteX14" fmla="*/ 0 w 2509837"/>
              <a:gd name="connsiteY14" fmla="*/ 5080677 h 5326062"/>
              <a:gd name="connsiteX15" fmla="*/ 0 w 2509837"/>
              <a:gd name="connsiteY15" fmla="*/ 249408 h 5326062"/>
              <a:gd name="connsiteX16" fmla="*/ 250164 w 2509837"/>
              <a:gd name="connsiteY16" fmla="*/ 0 h 5326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509837" h="5326062">
                <a:moveTo>
                  <a:pt x="250164" y="0"/>
                </a:moveTo>
                <a:cubicBezTo>
                  <a:pt x="250164" y="0"/>
                  <a:pt x="250164" y="0"/>
                  <a:pt x="524933" y="0"/>
                </a:cubicBezTo>
                <a:cubicBezTo>
                  <a:pt x="541338" y="0"/>
                  <a:pt x="557742" y="16091"/>
                  <a:pt x="557742" y="36205"/>
                </a:cubicBezTo>
                <a:cubicBezTo>
                  <a:pt x="557742" y="36205"/>
                  <a:pt x="557742" y="36205"/>
                  <a:pt x="557742" y="64363"/>
                </a:cubicBezTo>
                <a:cubicBezTo>
                  <a:pt x="557742" y="104591"/>
                  <a:pt x="590550" y="197113"/>
                  <a:pt x="701278" y="197113"/>
                </a:cubicBezTo>
                <a:cubicBezTo>
                  <a:pt x="758693" y="197113"/>
                  <a:pt x="1718336" y="197113"/>
                  <a:pt x="1816761" y="197113"/>
                </a:cubicBezTo>
                <a:cubicBezTo>
                  <a:pt x="1915186" y="197113"/>
                  <a:pt x="1956197" y="108613"/>
                  <a:pt x="1956197" y="60341"/>
                </a:cubicBezTo>
                <a:cubicBezTo>
                  <a:pt x="1956197" y="60341"/>
                  <a:pt x="1956197" y="60341"/>
                  <a:pt x="1956197" y="36205"/>
                </a:cubicBezTo>
                <a:cubicBezTo>
                  <a:pt x="1956197" y="16091"/>
                  <a:pt x="1972601" y="0"/>
                  <a:pt x="1989005" y="0"/>
                </a:cubicBezTo>
                <a:cubicBezTo>
                  <a:pt x="1989005" y="0"/>
                  <a:pt x="1989005" y="0"/>
                  <a:pt x="2259673" y="0"/>
                </a:cubicBezTo>
                <a:cubicBezTo>
                  <a:pt x="2395008" y="0"/>
                  <a:pt x="2509837" y="112636"/>
                  <a:pt x="2509837" y="249408"/>
                </a:cubicBezTo>
                <a:cubicBezTo>
                  <a:pt x="2509837" y="249408"/>
                  <a:pt x="2509837" y="249408"/>
                  <a:pt x="2509837" y="5080677"/>
                </a:cubicBezTo>
                <a:cubicBezTo>
                  <a:pt x="2509837" y="5217449"/>
                  <a:pt x="2395008" y="5326062"/>
                  <a:pt x="2259673" y="5326062"/>
                </a:cubicBezTo>
                <a:cubicBezTo>
                  <a:pt x="2259673" y="5326062"/>
                  <a:pt x="2259673" y="5326062"/>
                  <a:pt x="250164" y="5326062"/>
                </a:cubicBezTo>
                <a:cubicBezTo>
                  <a:pt x="114829" y="5326062"/>
                  <a:pt x="0" y="5217449"/>
                  <a:pt x="0" y="5080677"/>
                </a:cubicBezTo>
                <a:cubicBezTo>
                  <a:pt x="0" y="5080677"/>
                  <a:pt x="0" y="5080677"/>
                  <a:pt x="0" y="249408"/>
                </a:cubicBezTo>
                <a:cubicBezTo>
                  <a:pt x="0" y="112636"/>
                  <a:pt x="114829" y="0"/>
                  <a:pt x="250164" y="0"/>
                </a:cubicBezTo>
                <a:close/>
              </a:path>
            </a:pathLst>
          </a:cu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  <a:effectLst>
            <a:outerShdw blurRad="50800" dist="12700" dir="5400000" algn="t" rotWithShape="0">
              <a:prstClr val="black">
                <a:alpha val="10000"/>
              </a:prstClr>
            </a:outerShdw>
          </a:effectLst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C098297-EE9E-DA48-8D30-5D253C670D05}"/>
              </a:ext>
            </a:extLst>
          </p:cNvPr>
          <p:cNvSpPr/>
          <p:nvPr userDrawn="1"/>
        </p:nvSpPr>
        <p:spPr>
          <a:xfrm>
            <a:off x="1019175" y="0"/>
            <a:ext cx="4152900" cy="68865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0234526-10E2-444A-A799-A9833BC36C82}"/>
              </a:ext>
            </a:extLst>
          </p:cNvPr>
          <p:cNvSpPr/>
          <p:nvPr userDrawn="1"/>
        </p:nvSpPr>
        <p:spPr>
          <a:xfrm>
            <a:off x="1520687" y="1125538"/>
            <a:ext cx="3071191" cy="50020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defTabSz="914330">
              <a:lnSpc>
                <a:spcPct val="130000"/>
              </a:lnSpc>
              <a:spcBef>
                <a:spcPts val="1000"/>
              </a:spcBef>
            </a:pPr>
            <a:endParaRPr lang="en-US" sz="2200" dirty="0">
              <a:solidFill>
                <a:srgbClr val="FFFFFF"/>
              </a:solidFill>
              <a:latin typeface="Helvetica" pitchFamily="2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D899967-E43C-154B-A9BB-5D3978A2E17F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560063" y="1001853"/>
            <a:ext cx="2992438" cy="623887"/>
          </a:xfrm>
        </p:spPr>
        <p:txBody>
          <a:bodyPr>
            <a:normAutofit/>
          </a:bodyPr>
          <a:lstStyle>
            <a:lvl1pPr algn="l">
              <a:defRPr sz="2000" b="0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40066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5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" presetClass="emph" presetSubtype="0" accel="50000" decel="5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4" dur="500" fill="hold"/>
                                        <p:tgtEl>
                                          <p:spTgt spid="6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1" grpId="0" animBg="1"/>
      <p:bldP spid="12" grpId="0" animBg="1"/>
      <p:bldP spid="6" grpId="0" animBg="1"/>
      <p:bldP spid="6" grpId="1" animBg="1"/>
      <p:bldP spid="7" grpId="0"/>
    </p:bld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42C09D5-2596-C64E-84BE-234BA3C36F7B}"/>
              </a:ext>
            </a:extLst>
          </p:cNvPr>
          <p:cNvSpPr/>
          <p:nvPr userDrawn="1"/>
        </p:nvSpPr>
        <p:spPr>
          <a:xfrm>
            <a:off x="-62144" y="-62144"/>
            <a:ext cx="12254144" cy="6920144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C122B07-DEE2-4448-92AE-B51BEA423CE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80292" y="2254928"/>
            <a:ext cx="10031413" cy="1464815"/>
          </a:xfrm>
        </p:spPr>
        <p:txBody>
          <a:bodyPr>
            <a:noAutofit/>
          </a:bodyPr>
          <a:lstStyle>
            <a:lvl1pPr algn="ctr">
              <a:lnSpc>
                <a:spcPct val="130000"/>
              </a:lnSpc>
              <a:defRPr sz="8800" b="1">
                <a:solidFill>
                  <a:schemeClr val="bg2"/>
                </a:solidFill>
              </a:defRPr>
            </a:lvl1pPr>
            <a:lvl2pPr>
              <a:defRPr sz="8800"/>
            </a:lvl2pPr>
            <a:lvl3pPr>
              <a:defRPr sz="8800"/>
            </a:lvl3pPr>
            <a:lvl4pPr>
              <a:defRPr sz="8800"/>
            </a:lvl4pPr>
            <a:lvl5pPr>
              <a:defRPr sz="8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C66B49-9269-E849-86B4-22CE5A118C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51425" y="4412048"/>
            <a:ext cx="2068513" cy="415925"/>
          </a:xfrm>
        </p:spPr>
        <p:txBody>
          <a:bodyPr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  <a:lvl2pPr algn="ctr">
              <a:defRPr sz="1400">
                <a:solidFill>
                  <a:schemeClr val="bg1"/>
                </a:solidFill>
              </a:defRPr>
            </a:lvl2pPr>
            <a:lvl3pPr algn="ctr">
              <a:defRPr sz="1400">
                <a:solidFill>
                  <a:schemeClr val="bg1"/>
                </a:solidFill>
              </a:defRPr>
            </a:lvl3pPr>
            <a:lvl4pPr algn="ctr">
              <a:defRPr sz="1400">
                <a:solidFill>
                  <a:schemeClr val="bg1"/>
                </a:solidFill>
              </a:defRPr>
            </a:lvl4pPr>
            <a:lvl5pPr algn="ctr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1CAE5C61-59E8-CF4C-B55C-F9C11E5ADBF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51425" y="4953586"/>
            <a:ext cx="2068513" cy="415925"/>
          </a:xfrm>
        </p:spPr>
        <p:txBody>
          <a:bodyPr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  <a:lvl2pPr algn="ctr">
              <a:defRPr sz="1400">
                <a:solidFill>
                  <a:schemeClr val="bg1"/>
                </a:solidFill>
              </a:defRPr>
            </a:lvl2pPr>
            <a:lvl3pPr algn="ctr">
              <a:defRPr sz="1400">
                <a:solidFill>
                  <a:schemeClr val="bg1"/>
                </a:solidFill>
              </a:defRPr>
            </a:lvl3pPr>
            <a:lvl4pPr algn="ctr">
              <a:defRPr sz="1400">
                <a:solidFill>
                  <a:schemeClr val="bg1"/>
                </a:solidFill>
              </a:defRPr>
            </a:lvl4pPr>
            <a:lvl5pPr algn="ctr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4039109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691A9F-241A-6B4E-B473-2CB30D2F17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28824" y="2196548"/>
            <a:ext cx="3954726" cy="297416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C0CA817-AB65-2D4A-AA8B-DEBC1E3F157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28824" y="2578288"/>
            <a:ext cx="9152696" cy="2801580"/>
          </a:xfrm>
        </p:spPr>
        <p:txBody>
          <a:bodyPr>
            <a:noAutofit/>
          </a:bodyPr>
          <a:lstStyle>
            <a:lvl1pPr>
              <a:defRPr sz="100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303441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86825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276689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1016000" y="0"/>
            <a:ext cx="11176000" cy="6858000"/>
          </a:xfrm>
          <a:prstGeom prst="rect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0997828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ccel="50000" decel="50000" autoRev="1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" grpId="1" animBg="1"/>
    </p:bld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8825" y="946702"/>
            <a:ext cx="4067176" cy="12498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375A5718-5D74-4E87-80EC-F2110E5ADA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316654" y="1125538"/>
            <a:ext cx="1811382" cy="1689294"/>
          </a:xfrm>
          <a:prstGeom prst="rect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06C01F3E-9E36-4C94-9547-62C82056E6A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621215" y="4478369"/>
            <a:ext cx="2551610" cy="2379631"/>
          </a:xfrm>
          <a:prstGeom prst="rect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28362C07-870E-4BE5-8813-72DDF19A066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2179130"/>
            <a:ext cx="1811382" cy="168929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0" dist="254000" dir="5400000" algn="t" rotWithShape="0">
              <a:prstClr val="black">
                <a:alpha val="30000"/>
              </a:prstClr>
            </a:outerShdw>
          </a:effectLst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036671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ccel="50000" decel="50000" autoRev="1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mph" presetSubtype="0" accel="50000" decel="50000" autoRev="1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Scale>
                                      <p:cBhvr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" presetClass="emph" presetSubtype="0" accel="50000" decel="5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  <p:bldP spid="5" grpId="0" animBg="1"/>
      <p:bldP spid="5" grpId="1" animBg="1"/>
      <p:bldP spid="6" grpId="0" animBg="1"/>
      <p:bldP spid="6" grpId="1" animBg="1"/>
    </p:bld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06C01F3E-9E36-4C94-9547-62C82056E6A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621215" y="4478369"/>
            <a:ext cx="2551610" cy="2379631"/>
          </a:xfrm>
          <a:prstGeom prst="rect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375A5718-5D74-4E87-80EC-F2110E5ADA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1" y="1125539"/>
            <a:ext cx="2525214" cy="2303462"/>
          </a:xfrm>
          <a:prstGeom prst="rect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28362C07-870E-4BE5-8813-72DDF19A066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316654" y="3077385"/>
            <a:ext cx="1811382" cy="175260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0" dist="254000" dir="5400000" algn="t" rotWithShape="0">
              <a:prstClr val="black">
                <a:alpha val="30000"/>
              </a:prstClr>
            </a:outerShdw>
          </a:effectLst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8825" y="946702"/>
            <a:ext cx="4067176" cy="12498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97079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ccel="50000" decel="50000" autoRev="1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mph" presetSubtype="0" accel="50000" decel="50000" autoRev="1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Scale>
                                      <p:cBhvr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" presetClass="emph" presetSubtype="0" accel="50000" decel="5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4" grpId="0" animBg="1"/>
      <p:bldP spid="4" grpId="1" animBg="1"/>
      <p:bldP spid="6" grpId="0" animBg="1"/>
      <p:bldP spid="6" grpId="1" animBg="1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147D72-25E4-4CCC-AB8E-FAE6C565B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A5CC97-2276-4A30-B426-D730ED0FEF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80EEA27-3CEC-468C-90E7-ED248AFE731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B1FF9C2-13CC-4CAA-8029-2595FBE7E55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9CB6FCA-1B08-449F-A0F2-E2FDB2B2876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F75AAA3-A880-406A-9C50-859F20F7FE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AC083D-F5AF-42DD-9415-443547F10D74}" type="datetimeFigureOut">
              <a:rPr lang="en-US" smtClean="0"/>
              <a:t>2/3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B07672D-8DB6-4386-937F-368B874F3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773B71C-F486-4660-ACBC-70AC3960D3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A7142F-4899-484A-BFB9-94EBEDABD3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772606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06C01F3E-9E36-4C94-9547-62C82056E6A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590971" y="3530191"/>
            <a:ext cx="3581854" cy="3327810"/>
          </a:xfrm>
          <a:prstGeom prst="rect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375A5718-5D74-4E87-80EC-F2110E5ADA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665651" y="3530190"/>
            <a:ext cx="1811382" cy="1689294"/>
          </a:xfrm>
          <a:prstGeom prst="rect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06C01F3E-9E36-4C94-9547-62C82056E6A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5998" y="1125539"/>
            <a:ext cx="2425157" cy="2310890"/>
          </a:xfrm>
          <a:prstGeom prst="rect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8825" y="946702"/>
            <a:ext cx="4067176" cy="12498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28362C07-870E-4BE5-8813-72DDF19A066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621215" y="1747135"/>
            <a:ext cx="1811382" cy="168929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0" dist="254000" dir="5400000" algn="t" rotWithShape="0">
              <a:prstClr val="black">
                <a:alpha val="30000"/>
              </a:prstClr>
            </a:outerShdw>
          </a:effectLst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9574832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ccel="50000" decel="50000" autoRev="1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mph" presetSubtype="0" accel="50000" decel="50000" autoRev="1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Scale>
                                      <p:cBhvr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" presetClass="emph" presetSubtype="0" accel="50000" decel="5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" presetClass="emph" presetSubtype="0" accel="50000" decel="50000" autoRev="1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Scale>
                                      <p:cBhvr>
                                        <p:cTn id="24" dur="500" fill="hold"/>
                                        <p:tgtEl>
                                          <p:spTgt spid="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4" grpId="0" animBg="1"/>
      <p:bldP spid="4" grpId="1" animBg="1"/>
      <p:bldP spid="7" grpId="0" animBg="1"/>
      <p:bldP spid="7" grpId="1" animBg="1"/>
      <p:bldP spid="6" grpId="0" animBg="1"/>
      <p:bldP spid="6" grpId="1" animBg="1"/>
    </p:bld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5CB8A838-8474-4258-BDA9-321177FC3D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8825" y="946702"/>
            <a:ext cx="5083176" cy="124984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1527329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Photograp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67300" y="946702"/>
            <a:ext cx="6114221" cy="124984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1019175" y="0"/>
            <a:ext cx="3048001" cy="6858000"/>
          </a:xfrm>
          <a:prstGeom prst="rect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0212396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ccel="50000" decel="50000" autoRev="1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</p:bld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109E918E-A6ED-4C79-BF50-0276F40653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8825" y="946702"/>
            <a:ext cx="4067176" cy="124984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7989432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ic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2027238" y="1125538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009900" y="1120140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027238" y="2148840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3011805" y="2145982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3992562" y="1125538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3992562" y="2148840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4975224" y="1125538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4973319" y="2148840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5954076" y="1125538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936738" y="1120140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5954076" y="2148840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6938643" y="2145982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7919400" y="1125538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7919400" y="2148840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8902062" y="1125538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8900157" y="2148840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9882819" y="1125538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9880914" y="2148840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2027238" y="3174682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009900" y="3169284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24" name="Rectangle 23"/>
          <p:cNvSpPr/>
          <p:nvPr userDrawn="1"/>
        </p:nvSpPr>
        <p:spPr>
          <a:xfrm>
            <a:off x="2027238" y="4197984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3011805" y="4195126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3992562" y="3174682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3992562" y="4197984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4975224" y="3174682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4973319" y="4197984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5954076" y="3174682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31" name="Rectangle 30"/>
          <p:cNvSpPr/>
          <p:nvPr userDrawn="1"/>
        </p:nvSpPr>
        <p:spPr>
          <a:xfrm>
            <a:off x="6936738" y="3169284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32" name="Rectangle 31"/>
          <p:cNvSpPr/>
          <p:nvPr userDrawn="1"/>
        </p:nvSpPr>
        <p:spPr>
          <a:xfrm>
            <a:off x="5954076" y="4197984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6938643" y="4195126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7919400" y="3174682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35" name="Rectangle 34"/>
          <p:cNvSpPr/>
          <p:nvPr userDrawn="1"/>
        </p:nvSpPr>
        <p:spPr>
          <a:xfrm>
            <a:off x="7919400" y="4197984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36" name="Rectangle 35"/>
          <p:cNvSpPr/>
          <p:nvPr userDrawn="1"/>
        </p:nvSpPr>
        <p:spPr>
          <a:xfrm>
            <a:off x="8902062" y="3174682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8900157" y="4197984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9882819" y="3174682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9880914" y="4197984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40" name="Rectangle 39"/>
          <p:cNvSpPr/>
          <p:nvPr userDrawn="1"/>
        </p:nvSpPr>
        <p:spPr>
          <a:xfrm>
            <a:off x="2027238" y="5221286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41" name="Rectangle 40"/>
          <p:cNvSpPr/>
          <p:nvPr userDrawn="1"/>
        </p:nvSpPr>
        <p:spPr>
          <a:xfrm>
            <a:off x="3011805" y="5218428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42" name="Rectangle 41"/>
          <p:cNvSpPr/>
          <p:nvPr userDrawn="1"/>
        </p:nvSpPr>
        <p:spPr>
          <a:xfrm>
            <a:off x="3992562" y="5221286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43" name="Rectangle 42"/>
          <p:cNvSpPr/>
          <p:nvPr userDrawn="1"/>
        </p:nvSpPr>
        <p:spPr>
          <a:xfrm>
            <a:off x="4973319" y="5221286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44" name="Rectangle 43"/>
          <p:cNvSpPr/>
          <p:nvPr userDrawn="1"/>
        </p:nvSpPr>
        <p:spPr>
          <a:xfrm>
            <a:off x="5954076" y="5221286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45" name="Rectangle 44"/>
          <p:cNvSpPr/>
          <p:nvPr userDrawn="1"/>
        </p:nvSpPr>
        <p:spPr>
          <a:xfrm>
            <a:off x="6938643" y="5218428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46" name="Rectangle 45"/>
          <p:cNvSpPr/>
          <p:nvPr userDrawn="1"/>
        </p:nvSpPr>
        <p:spPr>
          <a:xfrm>
            <a:off x="7919400" y="5221286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47" name="Rectangle 46"/>
          <p:cNvSpPr/>
          <p:nvPr userDrawn="1"/>
        </p:nvSpPr>
        <p:spPr>
          <a:xfrm>
            <a:off x="8900157" y="5221286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48" name="Rectangle 47"/>
          <p:cNvSpPr/>
          <p:nvPr userDrawn="1"/>
        </p:nvSpPr>
        <p:spPr>
          <a:xfrm>
            <a:off x="9880914" y="5221286"/>
            <a:ext cx="822960" cy="82296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 defTabSz="914330">
              <a:spcBef>
                <a:spcPts val="1000"/>
              </a:spcBef>
            </a:pPr>
            <a:endParaRPr lang="en-US" sz="1400" dirty="0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F6D9208-D2C5-4FC5-8D0D-89C471EAAD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7238" y="465296"/>
            <a:ext cx="8678541" cy="560071"/>
          </a:xfrm>
          <a:prstGeom prst="rect">
            <a:avLst/>
          </a:prstGeom>
        </p:spPr>
        <p:txBody>
          <a:bodyPr lIns="0" rIns="0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596522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445982" y="367536"/>
            <a:ext cx="11300036" cy="106548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2" y="444685"/>
            <a:ext cx="11029616" cy="98833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1193" y="2228003"/>
            <a:ext cx="5422390" cy="363304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8417" y="2228003"/>
            <a:ext cx="5422392" cy="363304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978001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95B74814-72AF-43E7-B15D-622E864273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3455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95B74814-72AF-43E7-B15D-622E864273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8B9D029F-88FD-4EFB-B641-9642DE1767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Yu Gothic" panose="020B0400000000000000" pitchFamily="34" charset="-128"/>
              <a:ea typeface="Yu Gothic" panose="020B0400000000000000" pitchFamily="34" charset="-128"/>
              <a:cs typeface="+mj-cs"/>
              <a:sym typeface="Yu Gothic" panose="020B0400000000000000" pitchFamily="34" charset="-128"/>
            </a:endParaRPr>
          </a:p>
        </p:txBody>
      </p:sp>
      <p:pic>
        <p:nvPicPr>
          <p:cNvPr id="1031" name="Picture 7" descr="shallow focus photo of footed wine glasses">
            <a:extLst>
              <a:ext uri="{FF2B5EF4-FFF2-40B4-BE49-F238E27FC236}">
                <a16:creationId xmlns:a16="http://schemas.microsoft.com/office/drawing/2014/main" id="{AD8E12D6-7785-438D-A0C3-ED0127362C3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60" y="0"/>
            <a:ext cx="406387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>
            <a:extLst>
              <a:ext uri="{FF2B5EF4-FFF2-40B4-BE49-F238E27FC236}">
                <a16:creationId xmlns:a16="http://schemas.microsoft.com/office/drawing/2014/main" id="{1C9CD5E9-E9E7-4835-8FD1-FE30ECEC5BE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064240" y="0"/>
            <a:ext cx="406352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7" name="Picture 13" descr="clear drinking glass with beer on black table">
            <a:extLst>
              <a:ext uri="{FF2B5EF4-FFF2-40B4-BE49-F238E27FC236}">
                <a16:creationId xmlns:a16="http://schemas.microsoft.com/office/drawing/2014/main" id="{3D64701B-90FF-49F2-82D4-D358ECA80A1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28120" y="0"/>
            <a:ext cx="406388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0" y="4617132"/>
            <a:ext cx="12192000" cy="1773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027237" y="4617132"/>
            <a:ext cx="8137525" cy="1773432"/>
          </a:xfrm>
          <a:effectLst/>
        </p:spPr>
        <p:txBody>
          <a:bodyPr lIns="288000" rIns="288000" anchor="ctr">
            <a:noAutofit/>
          </a:bodyPr>
          <a:lstStyle>
            <a:lvl1pPr>
              <a:defRPr sz="6000" b="0" cap="none">
                <a:solidFill>
                  <a:schemeClr val="bg1"/>
                </a:solidFill>
                <a:latin typeface="Yu Gothic" panose="020B0400000000000000" pitchFamily="34" charset="-128"/>
                <a:ea typeface="Yu Gothic" panose="020B0400000000000000" pitchFamily="34" charset="-128"/>
              </a:defRPr>
            </a:lvl1pPr>
          </a:lstStyle>
          <a:p>
            <a:r>
              <a:rPr lang="en-US" dirty="0"/>
              <a:t>TITLE STYLE</a:t>
            </a:r>
          </a:p>
        </p:txBody>
      </p:sp>
    </p:spTree>
    <p:extLst>
      <p:ext uri="{BB962C8B-B14F-4D97-AF65-F5344CB8AC3E}">
        <p14:creationId xmlns:p14="http://schemas.microsoft.com/office/powerpoint/2010/main" val="75741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77">
          <p15:clr>
            <a:srgbClr val="FBAE40"/>
          </p15:clr>
        </p15:guide>
        <p15:guide id="2" pos="6403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p89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" name="Google Shape;93;p89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" name="Google Shape;94;p89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0"/>
              <a:buFont typeface="Arial"/>
              <a:buNone/>
              <a:defRPr sz="1165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0"/>
              <a:buFont typeface="Arial"/>
              <a:buNone/>
              <a:defRPr sz="1165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0"/>
              <a:buFont typeface="Arial"/>
              <a:buNone/>
              <a:defRPr sz="1165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0"/>
              <a:buFont typeface="Arial"/>
              <a:buNone/>
              <a:defRPr sz="1165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0"/>
              <a:buFont typeface="Arial"/>
              <a:buNone/>
              <a:defRPr sz="1165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0"/>
              <a:buFont typeface="Arial"/>
              <a:buNone/>
              <a:defRPr sz="1165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0"/>
              <a:buFont typeface="Arial"/>
              <a:buNone/>
              <a:defRPr sz="1165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0"/>
              <a:buFont typeface="Arial"/>
              <a:buNone/>
              <a:defRPr sz="1165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0"/>
              <a:buFont typeface="Arial"/>
              <a:buNone/>
              <a:defRPr sz="1165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7525484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AND_BODY" type="tx">
  <p:cSld name="TITLE_AND_BODY"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6" name="Google Shape;96;p9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856736" y="4407359"/>
            <a:ext cx="2879750" cy="2718070"/>
          </a:xfrm>
          <a:prstGeom prst="rect">
            <a:avLst/>
          </a:prstGeom>
          <a:noFill/>
          <a:ln>
            <a:noFill/>
          </a:ln>
        </p:spPr>
      </p:pic>
      <p:sp>
        <p:nvSpPr>
          <p:cNvPr id="97" name="Google Shape;97;p99"/>
          <p:cNvSpPr txBox="1">
            <a:spLocks noGrp="1"/>
          </p:cNvSpPr>
          <p:nvPr>
            <p:ph type="title"/>
          </p:nvPr>
        </p:nvSpPr>
        <p:spPr>
          <a:xfrm>
            <a:off x="415600" y="304213"/>
            <a:ext cx="11360800" cy="11066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53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98" name="Google Shape;98;p99"/>
          <p:cNvSpPr txBox="1">
            <a:spLocks noGrp="1"/>
          </p:cNvSpPr>
          <p:nvPr>
            <p:ph type="body" idx="1"/>
          </p:nvPr>
        </p:nvSpPr>
        <p:spPr>
          <a:xfrm>
            <a:off x="415600" y="1536634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118">
                <a:latin typeface="Montserrat"/>
                <a:ea typeface="Montserrat"/>
                <a:cs typeface="Montserrat"/>
                <a:sym typeface="Montserrat"/>
              </a:defRPr>
            </a:lvl1pPr>
            <a:lvl2pPr marL="914400" lvl="1" indent="-317500" algn="l">
              <a:lnSpc>
                <a:spcPct val="90000"/>
              </a:lnSpc>
              <a:spcBef>
                <a:spcPts val="1553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90000"/>
              </a:lnSpc>
              <a:spcBef>
                <a:spcPts val="1553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90000"/>
              </a:lnSpc>
              <a:spcBef>
                <a:spcPts val="1553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90000"/>
              </a:lnSpc>
              <a:spcBef>
                <a:spcPts val="1553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90000"/>
              </a:lnSpc>
              <a:spcBef>
                <a:spcPts val="1553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90000"/>
              </a:lnSpc>
              <a:spcBef>
                <a:spcPts val="1553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90000"/>
              </a:lnSpc>
              <a:spcBef>
                <a:spcPts val="1553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90000"/>
              </a:lnSpc>
              <a:spcBef>
                <a:spcPts val="1553"/>
              </a:spcBef>
              <a:spcAft>
                <a:spcPts val="155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99" name="Google Shape;99;p99"/>
          <p:cNvSpPr txBox="1">
            <a:spLocks noGrp="1"/>
          </p:cNvSpPr>
          <p:nvPr>
            <p:ph type="sldNum" idx="12"/>
          </p:nvPr>
        </p:nvSpPr>
        <p:spPr>
          <a:xfrm>
            <a:off x="363397" y="6217623"/>
            <a:ext cx="1726141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0"/>
              <a:buFont typeface="Arial"/>
              <a:buNone/>
              <a:defRPr sz="1765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0"/>
              <a:buFont typeface="Arial"/>
              <a:buNone/>
              <a:defRPr sz="1765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0"/>
              <a:buFont typeface="Arial"/>
              <a:buNone/>
              <a:defRPr sz="1765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0"/>
              <a:buFont typeface="Arial"/>
              <a:buNone/>
              <a:defRPr sz="1765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0"/>
              <a:buFont typeface="Arial"/>
              <a:buNone/>
              <a:defRPr sz="1765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0"/>
              <a:buFont typeface="Arial"/>
              <a:buNone/>
              <a:defRPr sz="1765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0"/>
              <a:buFont typeface="Arial"/>
              <a:buNone/>
              <a:defRPr sz="1765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0"/>
              <a:buFont typeface="Arial"/>
              <a:buNone/>
              <a:defRPr sz="1765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0"/>
              <a:buFont typeface="Arial"/>
              <a:buNone/>
              <a:defRPr sz="1765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00" name="Google Shape;100;p9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239689" y="-283488"/>
            <a:ext cx="2329228" cy="252628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2265431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Google Shape;110;p105"/>
          <p:cNvSpPr txBox="1">
            <a:spLocks noGrp="1"/>
          </p:cNvSpPr>
          <p:nvPr>
            <p:ph type="title"/>
          </p:nvPr>
        </p:nvSpPr>
        <p:spPr>
          <a:xfrm>
            <a:off x="415600" y="2867800"/>
            <a:ext cx="11360700" cy="112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111" name="Google Shape;111;p105"/>
          <p:cNvSpPr txBox="1">
            <a:spLocks noGrp="1"/>
          </p:cNvSpPr>
          <p:nvPr>
            <p:ph type="sldNum" idx="12"/>
          </p:nvPr>
        </p:nvSpPr>
        <p:spPr>
          <a:xfrm>
            <a:off x="11296610" y="6217623"/>
            <a:ext cx="731700" cy="52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3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996340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C81A09-61C1-48D6-8043-7349A0C30A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321233D-F5B4-4449-9BA8-DCD688C882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AC083D-F5AF-42DD-9415-443547F10D74}" type="datetimeFigureOut">
              <a:rPr lang="en-US" smtClean="0"/>
              <a:t>2/3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452AE39-18EE-4F7B-8B00-872987B577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D4B77A-795D-4E63-9BBC-0C842DDB57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A7142F-4899-484A-BFB9-94EBEDABD3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244173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Comparison">
    <p:spTree>
      <p:nvGrpSpPr>
        <p:cNvPr id="1" name="Shape 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Google Shape;113;p118"/>
          <p:cNvSpPr txBox="1"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353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" name="Google Shape;114;p118"/>
          <p:cNvSpPr txBox="1"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971"/>
              </a:spcBef>
              <a:spcAft>
                <a:spcPts val="0"/>
              </a:spcAft>
              <a:buClr>
                <a:schemeClr val="dk1"/>
              </a:buClr>
              <a:buSzPts val="2640"/>
              <a:buNone/>
              <a:defRPr sz="2330" b="1">
                <a:latin typeface="Montserrat"/>
                <a:ea typeface="Montserrat"/>
                <a:cs typeface="Montserrat"/>
                <a:sym typeface="Montserrat"/>
              </a:defRPr>
            </a:lvl1pPr>
            <a:lvl2pPr marL="914400" lvl="1" indent="-2286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2200"/>
              <a:buNone/>
              <a:defRPr sz="1941" b="1"/>
            </a:lvl2pPr>
            <a:lvl3pPr marL="1371600" lvl="2" indent="-2286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980"/>
              <a:buNone/>
              <a:defRPr sz="1745" b="1"/>
            </a:lvl3pPr>
            <a:lvl4pPr marL="1828800" lvl="3" indent="-2286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760"/>
              <a:buNone/>
              <a:defRPr sz="1553" b="1"/>
            </a:lvl4pPr>
            <a:lvl5pPr marL="2286000" lvl="4" indent="-2286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760"/>
              <a:buNone/>
              <a:defRPr sz="1553" b="1"/>
            </a:lvl5pPr>
            <a:lvl6pPr marL="2743200" lvl="5" indent="-2286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760"/>
              <a:buNone/>
              <a:defRPr sz="1553" b="1"/>
            </a:lvl6pPr>
            <a:lvl7pPr marL="3200400" lvl="6" indent="-2286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760"/>
              <a:buNone/>
              <a:defRPr sz="1553" b="1"/>
            </a:lvl7pPr>
            <a:lvl8pPr marL="3657600" lvl="7" indent="-2286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760"/>
              <a:buNone/>
              <a:defRPr sz="1553" b="1"/>
            </a:lvl8pPr>
            <a:lvl9pPr marL="4114800" lvl="8" indent="-2286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760"/>
              <a:buNone/>
              <a:defRPr sz="1553" b="1"/>
            </a:lvl9pPr>
          </a:lstStyle>
          <a:p>
            <a:endParaRPr/>
          </a:p>
        </p:txBody>
      </p:sp>
      <p:sp>
        <p:nvSpPr>
          <p:cNvPr id="115" name="Google Shape;115;p118"/>
          <p:cNvSpPr txBox="1">
            <a:spLocks noGrp="1"/>
          </p:cNvSpPr>
          <p:nvPr>
            <p:ph type="body" idx="2"/>
          </p:nvPr>
        </p:nvSpPr>
        <p:spPr>
          <a:xfrm>
            <a:off x="839789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97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>
                <a:latin typeface="Montserrat"/>
                <a:ea typeface="Montserrat"/>
                <a:cs typeface="Montserrat"/>
                <a:sym typeface="Montserrat"/>
              </a:defRPr>
            </a:lvl1pPr>
            <a:lvl2pPr marL="914400" lvl="1" indent="-3429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" name="Google Shape;116;p118"/>
          <p:cNvSpPr txBox="1">
            <a:spLocks noGrp="1"/>
          </p:cNvSpPr>
          <p:nvPr>
            <p:ph type="body" idx="3"/>
          </p:nvPr>
        </p:nvSpPr>
        <p:spPr>
          <a:xfrm>
            <a:off x="6172201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971"/>
              </a:spcBef>
              <a:spcAft>
                <a:spcPts val="0"/>
              </a:spcAft>
              <a:buClr>
                <a:schemeClr val="dk1"/>
              </a:buClr>
              <a:buSzPts val="2640"/>
              <a:buNone/>
              <a:defRPr sz="2330" b="1">
                <a:latin typeface="Montserrat"/>
                <a:ea typeface="Montserrat"/>
                <a:cs typeface="Montserrat"/>
                <a:sym typeface="Montserrat"/>
              </a:defRPr>
            </a:lvl1pPr>
            <a:lvl2pPr marL="914400" lvl="1" indent="-2286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2200"/>
              <a:buNone/>
              <a:defRPr sz="1941" b="1"/>
            </a:lvl2pPr>
            <a:lvl3pPr marL="1371600" lvl="2" indent="-2286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980"/>
              <a:buNone/>
              <a:defRPr sz="1745" b="1"/>
            </a:lvl3pPr>
            <a:lvl4pPr marL="1828800" lvl="3" indent="-2286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760"/>
              <a:buNone/>
              <a:defRPr sz="1553" b="1"/>
            </a:lvl4pPr>
            <a:lvl5pPr marL="2286000" lvl="4" indent="-2286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760"/>
              <a:buNone/>
              <a:defRPr sz="1553" b="1"/>
            </a:lvl5pPr>
            <a:lvl6pPr marL="2743200" lvl="5" indent="-2286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760"/>
              <a:buNone/>
              <a:defRPr sz="1553" b="1"/>
            </a:lvl6pPr>
            <a:lvl7pPr marL="3200400" lvl="6" indent="-2286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760"/>
              <a:buNone/>
              <a:defRPr sz="1553" b="1"/>
            </a:lvl7pPr>
            <a:lvl8pPr marL="3657600" lvl="7" indent="-2286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760"/>
              <a:buNone/>
              <a:defRPr sz="1553" b="1"/>
            </a:lvl8pPr>
            <a:lvl9pPr marL="4114800" lvl="8" indent="-2286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760"/>
              <a:buNone/>
              <a:defRPr sz="1553" b="1"/>
            </a:lvl9pPr>
          </a:lstStyle>
          <a:p>
            <a:endParaRPr/>
          </a:p>
        </p:txBody>
      </p:sp>
      <p:sp>
        <p:nvSpPr>
          <p:cNvPr id="117" name="Google Shape;117;p118"/>
          <p:cNvSpPr txBox="1">
            <a:spLocks noGrp="1"/>
          </p:cNvSpPr>
          <p:nvPr>
            <p:ph type="body" idx="4"/>
          </p:nvPr>
        </p:nvSpPr>
        <p:spPr>
          <a:xfrm>
            <a:off x="6172201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97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>
                <a:latin typeface="Montserrat"/>
                <a:ea typeface="Montserrat"/>
                <a:cs typeface="Montserrat"/>
                <a:sym typeface="Montserrat"/>
              </a:defRPr>
            </a:lvl1pPr>
            <a:lvl2pPr marL="914400" lvl="1" indent="-3429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" name="Google Shape;118;p118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" name="Google Shape;119;p118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" name="Google Shape;120;p118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0"/>
              <a:buFont typeface="Arial"/>
              <a:buNone/>
              <a:defRPr sz="1165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0"/>
              <a:buFont typeface="Arial"/>
              <a:buNone/>
              <a:defRPr sz="1165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0"/>
              <a:buFont typeface="Arial"/>
              <a:buNone/>
              <a:defRPr sz="1165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0"/>
              <a:buFont typeface="Arial"/>
              <a:buNone/>
              <a:defRPr sz="1165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0"/>
              <a:buFont typeface="Arial"/>
              <a:buNone/>
              <a:defRPr sz="1165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0"/>
              <a:buFont typeface="Arial"/>
              <a:buNone/>
              <a:defRPr sz="1165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0"/>
              <a:buFont typeface="Arial"/>
              <a:buNone/>
              <a:defRPr sz="1165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0"/>
              <a:buFont typeface="Arial"/>
              <a:buNone/>
              <a:defRPr sz="1165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0"/>
              <a:buFont typeface="Arial"/>
              <a:buNone/>
              <a:defRPr sz="1165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21" name="Google Shape;121;p11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856736" y="4407359"/>
            <a:ext cx="2879750" cy="271807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2" name="Google Shape;122;p11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239689" y="-283488"/>
            <a:ext cx="2329228" cy="252628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307353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Content with Caption">
    <p:spTree>
      <p:nvGrpSpPr>
        <p:cNvPr id="1" name="Shape 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Google Shape;124;p119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8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20"/>
              <a:buFont typeface="Calibri"/>
              <a:buNone/>
              <a:defRPr sz="2824">
                <a:latin typeface="Montserrat"/>
                <a:ea typeface="Montserrat"/>
                <a:cs typeface="Montserrat"/>
                <a:sym typeface="Montserrat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" name="Google Shape;125;p119"/>
          <p:cNvSpPr txBox="1">
            <a:spLocks noGrp="1"/>
          </p:cNvSpPr>
          <p:nvPr>
            <p:ph type="body" idx="1"/>
          </p:nvPr>
        </p:nvSpPr>
        <p:spPr>
          <a:xfrm>
            <a:off x="5183188" y="987426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52119" algn="l">
              <a:lnSpc>
                <a:spcPct val="90000"/>
              </a:lnSpc>
              <a:spcBef>
                <a:spcPts val="971"/>
              </a:spcBef>
              <a:spcAft>
                <a:spcPts val="0"/>
              </a:spcAft>
              <a:buClr>
                <a:schemeClr val="dk1"/>
              </a:buClr>
              <a:buSzPts val="3520"/>
              <a:buChar char="•"/>
              <a:defRPr sz="2824">
                <a:latin typeface="Montserrat"/>
                <a:ea typeface="Montserrat"/>
                <a:cs typeface="Montserrat"/>
                <a:sym typeface="Montserrat"/>
              </a:defRPr>
            </a:lvl1pPr>
            <a:lvl2pPr marL="914400" lvl="1" indent="-42418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3080"/>
              <a:buChar char="•"/>
              <a:defRPr sz="2718"/>
            </a:lvl2pPr>
            <a:lvl3pPr marL="1371600" lvl="2" indent="-396239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2640"/>
              <a:buChar char="•"/>
              <a:defRPr sz="2330"/>
            </a:lvl3pPr>
            <a:lvl4pPr marL="1828800" lvl="3" indent="-3683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2200"/>
              <a:buChar char="•"/>
              <a:defRPr sz="1941"/>
            </a:lvl4pPr>
            <a:lvl5pPr marL="2286000" lvl="4" indent="-3683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2200"/>
              <a:buChar char="•"/>
              <a:defRPr sz="1941"/>
            </a:lvl5pPr>
            <a:lvl6pPr marL="2743200" lvl="5" indent="-3683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2200"/>
              <a:buChar char="•"/>
              <a:defRPr sz="1941"/>
            </a:lvl6pPr>
            <a:lvl7pPr marL="3200400" lvl="6" indent="-3683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2200"/>
              <a:buChar char="•"/>
              <a:defRPr sz="1941"/>
            </a:lvl7pPr>
            <a:lvl8pPr marL="3657600" lvl="7" indent="-3683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2200"/>
              <a:buChar char="•"/>
              <a:defRPr sz="1941"/>
            </a:lvl8pPr>
            <a:lvl9pPr marL="4114800" lvl="8" indent="-3683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2200"/>
              <a:buChar char="•"/>
              <a:defRPr sz="1941"/>
            </a:lvl9pPr>
          </a:lstStyle>
          <a:p>
            <a:endParaRPr/>
          </a:p>
        </p:txBody>
      </p:sp>
      <p:sp>
        <p:nvSpPr>
          <p:cNvPr id="126" name="Google Shape;126;p119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8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971"/>
              </a:spcBef>
              <a:spcAft>
                <a:spcPts val="0"/>
              </a:spcAft>
              <a:buClr>
                <a:schemeClr val="dk1"/>
              </a:buClr>
              <a:buSzPts val="1760"/>
              <a:buNone/>
              <a:defRPr sz="1412">
                <a:latin typeface="Montserrat"/>
                <a:ea typeface="Montserrat"/>
                <a:cs typeface="Montserrat"/>
                <a:sym typeface="Montserrat"/>
              </a:defRPr>
            </a:lvl1pPr>
            <a:lvl2pPr marL="914400" lvl="1" indent="-2286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540"/>
              <a:buNone/>
              <a:defRPr sz="1359"/>
            </a:lvl2pPr>
            <a:lvl3pPr marL="1371600" lvl="2" indent="-2286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320"/>
              <a:buNone/>
              <a:defRPr sz="1165"/>
            </a:lvl3pPr>
            <a:lvl4pPr marL="1828800" lvl="3" indent="-2286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971"/>
            </a:lvl4pPr>
            <a:lvl5pPr marL="2286000" lvl="4" indent="-2286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971"/>
            </a:lvl5pPr>
            <a:lvl6pPr marL="2743200" lvl="5" indent="-2286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971"/>
            </a:lvl6pPr>
            <a:lvl7pPr marL="3200400" lvl="6" indent="-2286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971"/>
            </a:lvl7pPr>
            <a:lvl8pPr marL="3657600" lvl="7" indent="-2286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971"/>
            </a:lvl8pPr>
            <a:lvl9pPr marL="4114800" lvl="8" indent="-2286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971"/>
            </a:lvl9pPr>
          </a:lstStyle>
          <a:p>
            <a:endParaRPr/>
          </a:p>
        </p:txBody>
      </p:sp>
      <p:sp>
        <p:nvSpPr>
          <p:cNvPr id="127" name="Google Shape;127;p119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59">
                <a:latin typeface="Montserrat"/>
                <a:ea typeface="Montserrat"/>
                <a:cs typeface="Montserrat"/>
                <a:sym typeface="Montserrat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" name="Google Shape;128;p119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59">
                <a:latin typeface="Montserrat"/>
                <a:ea typeface="Montserrat"/>
                <a:cs typeface="Montserrat"/>
                <a:sym typeface="Montserrat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" name="Google Shape;129;p119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059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059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059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059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059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059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059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059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059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30" name="Google Shape;130;p1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856736" y="4407359"/>
            <a:ext cx="2879750" cy="271807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1" name="Google Shape;131;p11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239689" y="-283488"/>
            <a:ext cx="2329228" cy="252628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2588198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 with Caption"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p120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8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20"/>
              <a:buFont typeface="Calibri"/>
              <a:buNone/>
              <a:defRPr sz="2824">
                <a:latin typeface="Montserrat"/>
                <a:ea typeface="Montserrat"/>
                <a:cs typeface="Montserrat"/>
                <a:sym typeface="Montserrat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" name="Google Shape;134;p120"/>
          <p:cNvSpPr>
            <a:spLocks noGrp="1"/>
          </p:cNvSpPr>
          <p:nvPr>
            <p:ph type="pic" idx="2"/>
          </p:nvPr>
        </p:nvSpPr>
        <p:spPr>
          <a:xfrm>
            <a:off x="5183188" y="987426"/>
            <a:ext cx="6172200" cy="4873625"/>
          </a:xfrm>
          <a:prstGeom prst="rect">
            <a:avLst/>
          </a:prstGeom>
          <a:noFill/>
          <a:ln>
            <a:noFill/>
          </a:ln>
        </p:spPr>
      </p:sp>
      <p:sp>
        <p:nvSpPr>
          <p:cNvPr id="135" name="Google Shape;135;p120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8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971"/>
              </a:spcBef>
              <a:spcAft>
                <a:spcPts val="0"/>
              </a:spcAft>
              <a:buClr>
                <a:schemeClr val="dk1"/>
              </a:buClr>
              <a:buSzPts val="1760"/>
              <a:buNone/>
              <a:defRPr sz="1412">
                <a:latin typeface="Montserrat"/>
                <a:ea typeface="Montserrat"/>
                <a:cs typeface="Montserrat"/>
                <a:sym typeface="Montserrat"/>
              </a:defRPr>
            </a:lvl1pPr>
            <a:lvl2pPr marL="914400" lvl="1" indent="-2286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540"/>
              <a:buNone/>
              <a:defRPr sz="1359"/>
            </a:lvl2pPr>
            <a:lvl3pPr marL="1371600" lvl="2" indent="-2286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320"/>
              <a:buNone/>
              <a:defRPr sz="1165"/>
            </a:lvl3pPr>
            <a:lvl4pPr marL="1828800" lvl="3" indent="-2286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971"/>
            </a:lvl4pPr>
            <a:lvl5pPr marL="2286000" lvl="4" indent="-2286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971"/>
            </a:lvl5pPr>
            <a:lvl6pPr marL="2743200" lvl="5" indent="-2286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971"/>
            </a:lvl6pPr>
            <a:lvl7pPr marL="3200400" lvl="6" indent="-2286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971"/>
            </a:lvl7pPr>
            <a:lvl8pPr marL="3657600" lvl="7" indent="-2286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971"/>
            </a:lvl8pPr>
            <a:lvl9pPr marL="4114800" lvl="8" indent="-2286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971"/>
            </a:lvl9pPr>
          </a:lstStyle>
          <a:p>
            <a:endParaRPr/>
          </a:p>
        </p:txBody>
      </p:sp>
      <p:sp>
        <p:nvSpPr>
          <p:cNvPr id="136" name="Google Shape;136;p120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59">
                <a:latin typeface="Montserrat"/>
                <a:ea typeface="Montserrat"/>
                <a:cs typeface="Montserrat"/>
                <a:sym typeface="Montserrat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" name="Google Shape;137;p120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59">
                <a:latin typeface="Montserrat"/>
                <a:ea typeface="Montserrat"/>
                <a:cs typeface="Montserrat"/>
                <a:sym typeface="Montserrat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" name="Google Shape;138;p120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059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059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059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059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059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059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059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059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059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39" name="Google Shape;139;p12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856736" y="4407359"/>
            <a:ext cx="2879750" cy="271807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0" name="Google Shape;140;p12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239689" y="-283488"/>
            <a:ext cx="2329228" cy="252628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4366607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Title and Vertical Text">
    <p:spTree>
      <p:nvGrpSpPr>
        <p:cNvPr id="1" name="Shape 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Google Shape;142;p121"/>
          <p:cNvSpPr txBox="1"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353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" name="Google Shape;143;p121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97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471">
                <a:latin typeface="Montserrat"/>
                <a:ea typeface="Montserrat"/>
                <a:cs typeface="Montserrat"/>
                <a:sym typeface="Montserrat"/>
              </a:defRPr>
            </a:lvl1pPr>
            <a:lvl2pPr marL="914400" lvl="1" indent="-3429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4" name="Google Shape;144;p121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59">
                <a:latin typeface="Montserrat"/>
                <a:ea typeface="Montserrat"/>
                <a:cs typeface="Montserrat"/>
                <a:sym typeface="Montserrat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" name="Google Shape;145;p121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59">
                <a:latin typeface="Montserrat"/>
                <a:ea typeface="Montserrat"/>
                <a:cs typeface="Montserrat"/>
                <a:sym typeface="Montserrat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6" name="Google Shape;146;p1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059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059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059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059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059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059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059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059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059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47" name="Google Shape;147;p12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856736" y="4407359"/>
            <a:ext cx="2879750" cy="271807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8" name="Google Shape;148;p12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239689" y="-283488"/>
            <a:ext cx="2329228" cy="252628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2192919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 Title and Text"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Google Shape;150;p122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3883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1" name="Google Shape;151;p122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7"/>
            <a:ext cx="5811838" cy="77343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971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471">
                <a:latin typeface="Montserrat"/>
                <a:ea typeface="Montserrat"/>
                <a:cs typeface="Montserrat"/>
                <a:sym typeface="Montserrat"/>
              </a:defRPr>
            </a:lvl1pPr>
            <a:lvl2pPr marL="914400" lvl="1" indent="-3429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8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" name="Google Shape;152;p122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59">
                <a:latin typeface="Montserrat"/>
                <a:ea typeface="Montserrat"/>
                <a:cs typeface="Montserrat"/>
                <a:sym typeface="Montserrat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3" name="Google Shape;153;p122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59">
                <a:latin typeface="Montserrat"/>
                <a:ea typeface="Montserrat"/>
                <a:cs typeface="Montserrat"/>
                <a:sym typeface="Montserrat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4" name="Google Shape;154;p122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059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059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059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059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059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059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059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059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059" b="0" i="0" u="none" strike="noStrike" cap="none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55" name="Google Shape;155;p1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856736" y="4407359"/>
            <a:ext cx="2879750" cy="271807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6" name="Google Shape;156;p12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239689" y="-283488"/>
            <a:ext cx="2329228" cy="252628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301337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CBE29D2-4B16-46B2-8A15-88AFC8EC64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AC083D-F5AF-42DD-9415-443547F10D74}" type="datetimeFigureOut">
              <a:rPr lang="en-US" smtClean="0"/>
              <a:t>2/3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6D69BAC-224D-428E-99FD-8D6E942D2C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90505F1-87BD-4C09-83F3-B2FFFA9F73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A7142F-4899-484A-BFB9-94EBEDABD3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61478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DDE645-9510-4BF9-BCA3-85318147CF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65C31D-8320-48FD-BD93-4CCC4BE91F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FFB68-53B7-4B1A-A2A9-E5FED9B71E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1ED5D97-5F67-40AF-86D3-06DAA092A9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AC083D-F5AF-42DD-9415-443547F10D74}" type="datetimeFigureOut">
              <a:rPr lang="en-US" smtClean="0"/>
              <a:t>2/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CD70B8E-30D6-478E-8103-26AC7DCF94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9270109-4685-449B-AC69-7B31830993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A7142F-4899-484A-BFB9-94EBEDABD3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59093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0AA4A9-8256-4E94-929C-D307D79523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A4A335-83B1-44AD-93E6-A7477C78A36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B04E69-CA11-49DF-B7D2-394773114A5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FE943A8-BFD8-45EE-B9FC-1DFF8FCABB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AC083D-F5AF-42DD-9415-443547F10D74}" type="datetimeFigureOut">
              <a:rPr lang="en-US" smtClean="0"/>
              <a:t>2/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9A7BE87-295A-4DF8-A881-4758A3E6A2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4AFE8E3-57A2-43DE-9603-7D71D371D6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A7142F-4899-484A-BFB9-94EBEDABD3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24927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image" Target="../media/image2.png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theme" Target="../theme/theme2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5" Type="http://schemas.openxmlformats.org/officeDocument/2006/relationships/slideLayout" Target="../slideLayouts/slideLayout61.xml"/><Relationship Id="rId4" Type="http://schemas.openxmlformats.org/officeDocument/2006/relationships/slideLayout" Target="../slideLayouts/slideLayout60.xml"/><Relationship Id="rId9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0A8F3CB-ED9F-4629-939D-F042A07A11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FB59CB-4138-44DF-854B-386C31DCC5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15B1E6-D45B-4187-8A25-85DD82F8FF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AC083D-F5AF-42DD-9415-443547F10D74}" type="datetimeFigureOut">
              <a:rPr lang="en-US" smtClean="0"/>
              <a:t>2/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814FB2-1ACF-46EE-B527-0C8B529455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92C0A6-A8EF-49D9-B146-42AF2020A6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A7142F-4899-484A-BFB9-94EBEDABD385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E624A12-D652-4EFF-A333-12A7BDB8B001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-8470"/>
            <a:ext cx="12196700" cy="4162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8683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28824" y="946702"/>
            <a:ext cx="9152697" cy="1249845"/>
          </a:xfrm>
          <a:prstGeom prst="rect">
            <a:avLst/>
          </a:prstGeom>
          <a:effectLst/>
        </p:spPr>
        <p:txBody>
          <a:bodyPr vert="horz" lIns="0" tIns="192024" rIns="0" bIns="0" rtlCol="0" anchor="t" anchorCtr="0">
            <a:noAutofit/>
          </a:bodyPr>
          <a:lstStyle/>
          <a:p>
            <a:r>
              <a:rPr lang="en-US" dirty="0"/>
              <a:t>Your title here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028824" y="2514600"/>
            <a:ext cx="9152698" cy="3429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1"/>
            <a:r>
              <a:rPr lang="en-US" dirty="0"/>
              <a:t>Write here subtitle</a:t>
            </a:r>
          </a:p>
          <a:p>
            <a:pPr lvl="1"/>
            <a:r>
              <a:rPr lang="en-US" dirty="0"/>
              <a:t>Write here subtitle</a:t>
            </a:r>
          </a:p>
          <a:p>
            <a:pPr lvl="2"/>
            <a:r>
              <a:rPr lang="en-US" dirty="0"/>
              <a:t>Write here text</a:t>
            </a:r>
          </a:p>
          <a:p>
            <a:pPr lvl="3"/>
            <a:r>
              <a:rPr lang="en-US" dirty="0"/>
              <a:t>Write here text</a:t>
            </a:r>
          </a:p>
          <a:p>
            <a:pPr lvl="4"/>
            <a:r>
              <a:rPr lang="en-US" dirty="0"/>
              <a:t>Write here text </a:t>
            </a:r>
          </a:p>
        </p:txBody>
      </p:sp>
      <p:pic>
        <p:nvPicPr>
          <p:cNvPr id="10" name="Picture 9" descr="Icon&#10;&#10;Description automatically generated">
            <a:extLst>
              <a:ext uri="{FF2B5EF4-FFF2-40B4-BE49-F238E27FC236}">
                <a16:creationId xmlns:a16="http://schemas.microsoft.com/office/drawing/2014/main" id="{483C4FC6-F723-B441-BA7B-63DA6B812539}"/>
              </a:ext>
            </a:extLst>
          </p:cNvPr>
          <p:cNvPicPr>
            <a:picLocks noChangeAspect="1"/>
          </p:cNvPicPr>
          <p:nvPr userDrawn="1"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00791" y="6078947"/>
            <a:ext cx="815009" cy="779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6326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  <p:sldLayoutId id="2147483858" r:id="rId9"/>
    <p:sldLayoutId id="2147483859" r:id="rId10"/>
    <p:sldLayoutId id="2147483860" r:id="rId11"/>
    <p:sldLayoutId id="2147483861" r:id="rId12"/>
    <p:sldLayoutId id="2147483862" r:id="rId13"/>
    <p:sldLayoutId id="2147483863" r:id="rId14"/>
    <p:sldLayoutId id="2147483864" r:id="rId15"/>
    <p:sldLayoutId id="2147483865" r:id="rId16"/>
    <p:sldLayoutId id="2147483866" r:id="rId17"/>
    <p:sldLayoutId id="2147483867" r:id="rId18"/>
    <p:sldLayoutId id="2147483868" r:id="rId19"/>
    <p:sldLayoutId id="2147483869" r:id="rId20"/>
    <p:sldLayoutId id="2147483870" r:id="rId21"/>
    <p:sldLayoutId id="2147483871" r:id="rId22"/>
    <p:sldLayoutId id="2147483872" r:id="rId23"/>
    <p:sldLayoutId id="2147483873" r:id="rId24"/>
    <p:sldLayoutId id="2147483874" r:id="rId25"/>
    <p:sldLayoutId id="2147483875" r:id="rId26"/>
    <p:sldLayoutId id="2147483876" r:id="rId27"/>
    <p:sldLayoutId id="2147483877" r:id="rId28"/>
    <p:sldLayoutId id="2147483878" r:id="rId29"/>
    <p:sldLayoutId id="2147483879" r:id="rId30"/>
    <p:sldLayoutId id="2147483880" r:id="rId31"/>
    <p:sldLayoutId id="2147483881" r:id="rId32"/>
    <p:sldLayoutId id="2147483882" r:id="rId33"/>
    <p:sldLayoutId id="2147483883" r:id="rId34"/>
    <p:sldLayoutId id="2147483884" r:id="rId35"/>
    <p:sldLayoutId id="2147483885" r:id="rId36"/>
    <p:sldLayoutId id="2147483886" r:id="rId37"/>
    <p:sldLayoutId id="2147483887" r:id="rId38"/>
    <p:sldLayoutId id="2147483888" r:id="rId39"/>
    <p:sldLayoutId id="2147483889" r:id="rId40"/>
    <p:sldLayoutId id="2147483890" r:id="rId41"/>
    <p:sldLayoutId id="2147483891" r:id="rId42"/>
    <p:sldLayoutId id="2147483892" r:id="rId43"/>
    <p:sldLayoutId id="2147483893" r:id="rId44"/>
    <p:sldLayoutId id="2147483894" r:id="rId45"/>
  </p:sldLayoutIdLst>
  <p:hf hdr="0" ftr="0" dt="0"/>
  <p:txStyles>
    <p:titleStyle>
      <a:lvl1pPr algn="l" defTabSz="914318" rtl="0" eaLnBrk="1" latinLnBrk="0" hangingPunct="1">
        <a:lnSpc>
          <a:spcPct val="80000"/>
        </a:lnSpc>
        <a:spcBef>
          <a:spcPct val="0"/>
        </a:spcBef>
        <a:buNone/>
        <a:defRPr sz="3600" b="1" i="0" kern="1200" spc="-100" baseline="0">
          <a:solidFill>
            <a:schemeClr val="accent1"/>
          </a:solidFill>
          <a:latin typeface="Helvetica" pitchFamily="2" charset="0"/>
          <a:ea typeface="Helvetica" pitchFamily="2" charset="0"/>
          <a:cs typeface="Helvetica" pitchFamily="2" charset="0"/>
        </a:defRPr>
      </a:lvl1pPr>
    </p:titleStyle>
    <p:bodyStyle>
      <a:lvl1pPr marL="0" indent="0" algn="l" defTabSz="914318" rtl="0" eaLnBrk="1" latinLnBrk="0" hangingPunct="1">
        <a:lnSpc>
          <a:spcPct val="150000"/>
        </a:lnSpc>
        <a:spcBef>
          <a:spcPts val="1000"/>
        </a:spcBef>
        <a:buFont typeface="Arial" panose="020B0604020202020204" pitchFamily="34" charset="0"/>
        <a:buNone/>
        <a:defRPr sz="2800" kern="1200">
          <a:solidFill>
            <a:schemeClr val="accent2"/>
          </a:solidFill>
          <a:latin typeface="Helvetica" pitchFamily="2" charset="0"/>
          <a:ea typeface="+mn-ea"/>
          <a:cs typeface="+mn-cs"/>
        </a:defRPr>
      </a:lvl1pPr>
      <a:lvl2pPr marL="0" indent="0" algn="l" defTabSz="914318" rtl="0" eaLnBrk="1" latinLnBrk="0" hangingPunct="1">
        <a:lnSpc>
          <a:spcPct val="150000"/>
        </a:lnSpc>
        <a:spcBef>
          <a:spcPts val="499"/>
        </a:spcBef>
        <a:buFont typeface="Arial" panose="020B0604020202020204" pitchFamily="34" charset="0"/>
        <a:buNone/>
        <a:defRPr sz="1800" kern="1200">
          <a:solidFill>
            <a:schemeClr val="accent2"/>
          </a:solidFill>
          <a:latin typeface="Helvetica" pitchFamily="2" charset="0"/>
          <a:ea typeface="+mn-ea"/>
          <a:cs typeface="+mn-cs"/>
        </a:defRPr>
      </a:lvl2pPr>
      <a:lvl3pPr marL="0" indent="0" algn="l" defTabSz="914318" rtl="0" eaLnBrk="1" latinLnBrk="0" hangingPunct="1">
        <a:lnSpc>
          <a:spcPct val="150000"/>
        </a:lnSpc>
        <a:spcBef>
          <a:spcPts val="499"/>
        </a:spcBef>
        <a:buFont typeface="Arial" panose="020B0604020202020204" pitchFamily="34" charset="0"/>
        <a:buNone/>
        <a:defRPr sz="1200" kern="1200">
          <a:solidFill>
            <a:schemeClr val="accent2"/>
          </a:solidFill>
          <a:latin typeface="Helvetica" pitchFamily="2" charset="0"/>
          <a:ea typeface="+mn-ea"/>
          <a:cs typeface="+mn-cs"/>
        </a:defRPr>
      </a:lvl3pPr>
      <a:lvl4pPr marL="0" indent="0" algn="l" defTabSz="914318" rtl="0" eaLnBrk="1" latinLnBrk="0" hangingPunct="1">
        <a:lnSpc>
          <a:spcPct val="150000"/>
        </a:lnSpc>
        <a:spcBef>
          <a:spcPts val="499"/>
        </a:spcBef>
        <a:buFont typeface="Arial" panose="020B0604020202020204" pitchFamily="34" charset="0"/>
        <a:buNone/>
        <a:defRPr sz="1000" kern="1200">
          <a:solidFill>
            <a:schemeClr val="accent2"/>
          </a:solidFill>
          <a:latin typeface="Helvetica" pitchFamily="2" charset="0"/>
          <a:ea typeface="+mn-ea"/>
          <a:cs typeface="+mn-cs"/>
        </a:defRPr>
      </a:lvl4pPr>
      <a:lvl5pPr marL="0" indent="0" algn="l" defTabSz="914318" rtl="0" eaLnBrk="1" latinLnBrk="0" hangingPunct="1">
        <a:lnSpc>
          <a:spcPct val="150000"/>
        </a:lnSpc>
        <a:spcBef>
          <a:spcPts val="499"/>
        </a:spcBef>
        <a:buFont typeface="Arial" panose="020B0604020202020204" pitchFamily="34" charset="0"/>
        <a:buNone/>
        <a:defRPr sz="1000" kern="1200" baseline="0">
          <a:solidFill>
            <a:schemeClr val="accent2"/>
          </a:solidFill>
          <a:latin typeface="Helvetica" pitchFamily="2" charset="0"/>
          <a:ea typeface="+mn-ea"/>
          <a:cs typeface="+mn-cs"/>
        </a:defRPr>
      </a:lvl5pPr>
      <a:lvl6pPr marL="2514374" indent="-228580" algn="l" defTabSz="914318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34" indent="-228580" algn="l" defTabSz="914318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92" indent="-228580" algn="l" defTabSz="914318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50" indent="-228580" algn="l" defTabSz="914318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9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8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8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36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94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53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12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71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46">
          <p15:clr>
            <a:srgbClr val="F26B43"/>
          </p15:clr>
        </p15:guide>
        <p15:guide id="4" orient="horz" pos="3952">
          <p15:clr>
            <a:srgbClr val="F26B43"/>
          </p15:clr>
        </p15:guide>
        <p15:guide id="5" pos="642">
          <p15:clr>
            <a:srgbClr val="F26B43"/>
          </p15:clr>
        </p15:guide>
        <p15:guide id="6" pos="7038">
          <p15:clr>
            <a:srgbClr val="F26B43"/>
          </p15:clr>
        </p15:guide>
        <p15:guide id="7">
          <p15:clr>
            <a:srgbClr val="F26B43"/>
          </p15:clr>
        </p15:guide>
        <p15:guide id="8" pos="7680">
          <p15:clr>
            <a:srgbClr val="F26B43"/>
          </p15:clr>
        </p15:guide>
        <p15:guide id="9" orient="horz">
          <p15:clr>
            <a:srgbClr val="F26B43"/>
          </p15:clr>
        </p15:guide>
        <p15:guide id="10" orient="horz" pos="4320">
          <p15:clr>
            <a:srgbClr val="F26B43"/>
          </p15:clr>
        </p15:guide>
        <p15:guide id="11" pos="1277">
          <p15:clr>
            <a:srgbClr val="F26B43"/>
          </p15:clr>
        </p15:guide>
        <p15:guide id="12" orient="horz" pos="709">
          <p15:clr>
            <a:srgbClr val="F26B43"/>
          </p15:clr>
        </p15:guide>
        <p15:guide id="13" pos="191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88"/>
          <p:cNvSpPr txBox="1"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840"/>
              <a:buFont typeface="Calibri"/>
              <a:buNone/>
              <a:defRPr sz="484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6" name="Google Shape;86;p88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24180" algn="l" rtl="0">
              <a:lnSpc>
                <a:spcPct val="90000"/>
              </a:lnSpc>
              <a:spcBef>
                <a:spcPts val="1100"/>
              </a:spcBef>
              <a:spcAft>
                <a:spcPts val="0"/>
              </a:spcAft>
              <a:buClr>
                <a:schemeClr val="dk1"/>
              </a:buClr>
              <a:buSzPts val="3080"/>
              <a:buFont typeface="Arial"/>
              <a:buChar char="•"/>
              <a:defRPr sz="308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96240" algn="l" rtl="0">
              <a:lnSpc>
                <a:spcPct val="90000"/>
              </a:lnSpc>
              <a:spcBef>
                <a:spcPts val="550"/>
              </a:spcBef>
              <a:spcAft>
                <a:spcPts val="0"/>
              </a:spcAft>
              <a:buClr>
                <a:schemeClr val="dk1"/>
              </a:buClr>
              <a:buSzPts val="2640"/>
              <a:buFont typeface="Arial"/>
              <a:buChar char="•"/>
              <a:defRPr sz="264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68300" algn="l" rtl="0">
              <a:lnSpc>
                <a:spcPct val="90000"/>
              </a:lnSpc>
              <a:spcBef>
                <a:spcPts val="55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Arial"/>
              <a:buChar char="•"/>
              <a:defRPr sz="2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54330" algn="l" rtl="0">
              <a:lnSpc>
                <a:spcPct val="90000"/>
              </a:lnSpc>
              <a:spcBef>
                <a:spcPts val="550"/>
              </a:spcBef>
              <a:spcAft>
                <a:spcPts val="0"/>
              </a:spcAft>
              <a:buClr>
                <a:schemeClr val="dk1"/>
              </a:buClr>
              <a:buSzPts val="1980"/>
              <a:buFont typeface="Arial"/>
              <a:buChar char="•"/>
              <a:defRPr sz="197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4329" algn="l" rtl="0">
              <a:lnSpc>
                <a:spcPct val="90000"/>
              </a:lnSpc>
              <a:spcBef>
                <a:spcPts val="550"/>
              </a:spcBef>
              <a:spcAft>
                <a:spcPts val="0"/>
              </a:spcAft>
              <a:buClr>
                <a:schemeClr val="dk1"/>
              </a:buClr>
              <a:buSzPts val="1980"/>
              <a:buFont typeface="Arial"/>
              <a:buChar char="•"/>
              <a:defRPr sz="197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4329" algn="l" rtl="0">
              <a:lnSpc>
                <a:spcPct val="90000"/>
              </a:lnSpc>
              <a:spcBef>
                <a:spcPts val="550"/>
              </a:spcBef>
              <a:spcAft>
                <a:spcPts val="0"/>
              </a:spcAft>
              <a:buClr>
                <a:schemeClr val="dk1"/>
              </a:buClr>
              <a:buSzPts val="1980"/>
              <a:buFont typeface="Arial"/>
              <a:buChar char="•"/>
              <a:defRPr sz="197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4329" algn="l" rtl="0">
              <a:lnSpc>
                <a:spcPct val="90000"/>
              </a:lnSpc>
              <a:spcBef>
                <a:spcPts val="550"/>
              </a:spcBef>
              <a:spcAft>
                <a:spcPts val="0"/>
              </a:spcAft>
              <a:buClr>
                <a:schemeClr val="dk1"/>
              </a:buClr>
              <a:buSzPts val="1980"/>
              <a:buFont typeface="Arial"/>
              <a:buChar char="•"/>
              <a:defRPr sz="197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4329" algn="l" rtl="0">
              <a:lnSpc>
                <a:spcPct val="90000"/>
              </a:lnSpc>
              <a:spcBef>
                <a:spcPts val="550"/>
              </a:spcBef>
              <a:spcAft>
                <a:spcPts val="0"/>
              </a:spcAft>
              <a:buClr>
                <a:schemeClr val="dk1"/>
              </a:buClr>
              <a:buSzPts val="1980"/>
              <a:buFont typeface="Arial"/>
              <a:buChar char="•"/>
              <a:defRPr sz="197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4329" algn="l" rtl="0">
              <a:lnSpc>
                <a:spcPct val="90000"/>
              </a:lnSpc>
              <a:spcBef>
                <a:spcPts val="550"/>
              </a:spcBef>
              <a:spcAft>
                <a:spcPts val="0"/>
              </a:spcAft>
              <a:buClr>
                <a:schemeClr val="dk1"/>
              </a:buClr>
              <a:buSzPts val="1980"/>
              <a:buFont typeface="Arial"/>
              <a:buChar char="•"/>
              <a:defRPr sz="197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7" name="Google Shape;87;p88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165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58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58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58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58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58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58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58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58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8" name="Google Shape;88;p88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165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58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58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58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58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58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58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58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58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9" name="Google Shape;89;p88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0"/>
              <a:buFont typeface="Arial"/>
              <a:buNone/>
              <a:defRPr sz="1165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0"/>
              <a:buFont typeface="Arial"/>
              <a:buNone/>
              <a:defRPr sz="1165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0"/>
              <a:buFont typeface="Arial"/>
              <a:buNone/>
              <a:defRPr sz="1165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0"/>
              <a:buFont typeface="Arial"/>
              <a:buNone/>
              <a:defRPr sz="1165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0"/>
              <a:buFont typeface="Arial"/>
              <a:buNone/>
              <a:defRPr sz="1165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0"/>
              <a:buFont typeface="Arial"/>
              <a:buNone/>
              <a:defRPr sz="1165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0"/>
              <a:buFont typeface="Arial"/>
              <a:buNone/>
              <a:defRPr sz="1165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0"/>
              <a:buFont typeface="Arial"/>
              <a:buNone/>
              <a:defRPr sz="1165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20"/>
              <a:buFont typeface="Arial"/>
              <a:buNone/>
              <a:defRPr sz="1165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0" name="Google Shape;90;p88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80650" tIns="40300" rIns="80650" bIns="403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235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70694387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18" r:id="rId1"/>
    <p:sldLayoutId id="2147483919" r:id="rId2"/>
    <p:sldLayoutId id="2147483921" r:id="rId3"/>
    <p:sldLayoutId id="2147483922" r:id="rId4"/>
    <p:sldLayoutId id="2147483923" r:id="rId5"/>
    <p:sldLayoutId id="2147483924" r:id="rId6"/>
    <p:sldLayoutId id="2147483925" r:id="rId7"/>
    <p:sldLayoutId id="2147483926" r:id="rId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hyperlink" Target="https://www.nytimes.com/2023/02/02/dining/drinks/bees-knees-cocktail.html?unlocked_article_code=UTAZT4N6uQQv3bnhQJM8MAak5LVUtzzbTS-vAv9IpNgGQ4qDfZ5TW8a-MAjKXsu6v33w5BV42_zs4g8cL62dPCulxuCufmCR6YBZIYKl5zFG--4Lx3BB-jceO1kY7iS3n6sP0TvhRBKObjTvKy24rWRgjO5qjaKCNzSTI1_q6-cu45aaEMTTNZF-nvLbPDSp7dK4XZhRGhml50PNMhUc43Fn7lvgOyQUGSduiWFt8YYvWafJgB1zFEqwMbITVhokOAucn60HpwnuW5n4HUoYF8bzAxXqkbFKTDdgcjj_TRq5dQlh5b0N4talWlwzSvDtsR2EgIliipCjmnot6zRUzoBZBw&amp;smid=share-url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" name="Google Shape;676;g1229633985e_0_445"/>
          <p:cNvSpPr txBox="1">
            <a:spLocks noGrp="1"/>
          </p:cNvSpPr>
          <p:nvPr>
            <p:ph type="title"/>
          </p:nvPr>
        </p:nvSpPr>
        <p:spPr>
          <a:xfrm>
            <a:off x="421256" y="280235"/>
            <a:ext cx="11338560" cy="110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0650" tIns="80650" rIns="80650" bIns="80650" anchor="t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</a:pPr>
            <a:r>
              <a:rPr lang="en-US" sz="32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Barr Hill is </a:t>
            </a:r>
            <a:r>
              <a:rPr lang="en-US" sz="3200" dirty="0">
                <a:latin typeface="Montserrat"/>
                <a:ea typeface="Montserrat"/>
                <a:cs typeface="Montserrat"/>
                <a:sym typeface="Montserrat"/>
              </a:rPr>
              <a:t>Inspiring</a:t>
            </a:r>
            <a:r>
              <a:rPr lang="en-US" sz="32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 a Resurgence </a:t>
            </a:r>
            <a:br>
              <a:rPr lang="en-US" sz="32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</a:br>
            <a:r>
              <a:rPr lang="en-US" sz="3200" dirty="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of the Bees Knees Cocktail</a:t>
            </a:r>
            <a:endParaRPr sz="3200" dirty="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B625F72-0293-BD15-FB20-771205AE93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2414" y="1266285"/>
            <a:ext cx="4337436" cy="542103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67B8044-A30E-647D-7061-094525EADD9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34957" y="4007283"/>
            <a:ext cx="6469826" cy="191312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77A0943-C08E-E74E-E211-6636360037A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34957" y="2833181"/>
            <a:ext cx="6469826" cy="107712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720B2B85-EFFF-9697-3A08-0E528949112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34958" y="1755235"/>
            <a:ext cx="6469826" cy="98561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2D9B760C-92DE-958F-D382-B63D51911E89}"/>
              </a:ext>
            </a:extLst>
          </p:cNvPr>
          <p:cNvSpPr txBox="1"/>
          <p:nvPr/>
        </p:nvSpPr>
        <p:spPr>
          <a:xfrm>
            <a:off x="5234957" y="6000750"/>
            <a:ext cx="3610593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Link to full article </a:t>
            </a:r>
            <a:r>
              <a:rPr lang="en-US" i="1" dirty="0">
                <a:latin typeface="Times New Roman" panose="02020603050405020304" pitchFamily="18" charset="0"/>
                <a:cs typeface="Times New Roman" panose="02020603050405020304" pitchFamily="18" charset="0"/>
                <a:hlinkClick r:id="rId7"/>
              </a:rPr>
              <a:t>here</a:t>
            </a:r>
            <a:endParaRPr lang="en-US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35952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5seUee6MLPylZUboV7aQ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WSWA Powerpoint Template 1">
  <a:themeElements>
    <a:clrScheme name="SipSource Colors">
      <a:dk1>
        <a:srgbClr val="000000"/>
      </a:dk1>
      <a:lt1>
        <a:srgbClr val="FFFFFF"/>
      </a:lt1>
      <a:dk2>
        <a:srgbClr val="17406D"/>
      </a:dk2>
      <a:lt2>
        <a:srgbClr val="DBEFF9"/>
      </a:lt2>
      <a:accent1>
        <a:srgbClr val="283370"/>
      </a:accent1>
      <a:accent2>
        <a:srgbClr val="3B65AF"/>
      </a:accent2>
      <a:accent3>
        <a:srgbClr val="5BAADE"/>
      </a:accent3>
      <a:accent4>
        <a:srgbClr val="9CDAF7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  <a:effectLst>
          <a:outerShdw blurRad="38100" dist="12700" dir="5400000" algn="ctr" rotWithShape="0">
            <a:prstClr val="black">
              <a:alpha val="15000"/>
            </a:prstClr>
          </a:outerShdw>
        </a:effectLst>
      </a:spPr>
      <a:bodyPr wrap="square" lIns="0" tIns="0" rIns="0" bIns="0" rtlCol="0" anchor="t">
        <a:noAutofit/>
      </a:bodyPr>
      <a:lstStyle>
        <a:defPPr algn="ctr">
          <a:spcBef>
            <a:spcPts val="1000"/>
          </a:spcBef>
          <a:defRPr sz="1400" b="1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36000" rIns="216000" bIns="36000" rtlCol="0">
        <a:spAutoFit/>
      </a:bodyPr>
      <a:lstStyle>
        <a:defPPr algn="l">
          <a:lnSpc>
            <a:spcPct val="130000"/>
          </a:lnSpc>
          <a:spcBef>
            <a:spcPts val="1000"/>
          </a:spcBef>
          <a:defRPr sz="1600" dirty="0" err="1" smtClean="0">
            <a:solidFill>
              <a:schemeClr val="accent2"/>
            </a:solidFill>
            <a:latin typeface="Helvetica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WSWA PRESENTATION TEMPLATE" id="{FA5D6DA0-D1E9-DE4E-83F9-973F637726A1}" vid="{ABC5B7AC-4C68-2F4D-977B-D36B4FB372EE}"/>
    </a:ext>
  </a:extLst>
</a:theme>
</file>

<file path=ppt/theme/theme3.xml><?xml version="1.0" encoding="utf-8"?>
<a:theme xmlns:a="http://schemas.openxmlformats.org/drawingml/2006/main" name="4_Office Theme">
  <a:themeElements>
    <a:clrScheme name="Office Them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312</TotalTime>
  <Words>17</Words>
  <Application>Microsoft Office PowerPoint</Application>
  <PresentationFormat>Widescreen</PresentationFormat>
  <Paragraphs>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3" baseType="lpstr">
      <vt:lpstr>Yu Gothic</vt:lpstr>
      <vt:lpstr>Arial</vt:lpstr>
      <vt:lpstr>Calibri</vt:lpstr>
      <vt:lpstr>Calibri Light</vt:lpstr>
      <vt:lpstr>Helvetica</vt:lpstr>
      <vt:lpstr>Montserrat</vt:lpstr>
      <vt:lpstr>Times New Roman</vt:lpstr>
      <vt:lpstr>Trebuchet MS</vt:lpstr>
      <vt:lpstr>Custom Design</vt:lpstr>
      <vt:lpstr>3_WSWA Powerpoint Template 1</vt:lpstr>
      <vt:lpstr>4_Office Theme</vt:lpstr>
      <vt:lpstr>think-cell Slide</vt:lpstr>
      <vt:lpstr>Barr Hill is Inspiring a Resurgence  of the Bees Knees Cocktai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rry Kahn</dc:creator>
  <cp:lastModifiedBy>Harry Kahn</cp:lastModifiedBy>
  <cp:revision>129</cp:revision>
  <cp:lastPrinted>2022-08-23T12:08:54Z</cp:lastPrinted>
  <dcterms:created xsi:type="dcterms:W3CDTF">2021-12-09T02:05:53Z</dcterms:created>
  <dcterms:modified xsi:type="dcterms:W3CDTF">2023-02-03T15:03:48Z</dcterms:modified>
</cp:coreProperties>
</file>